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Users\Vladimir\Desktop\FMFI_2\VKR\data\excel\USDRUB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/>
              <a:t>Объем дневных торгов на ММВБ, млрд. долл.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628654716132675"/>
          <c:y val="0.18934527452593358"/>
          <c:w val="0.84771829882937866"/>
          <c:h val="0.57962270793038306"/>
        </c:manualLayout>
      </c:layout>
      <c:lineChart>
        <c:grouping val="standard"/>
        <c:varyColors val="0"/>
        <c:ser>
          <c:idx val="0"/>
          <c:order val="0"/>
          <c:tx>
            <c:v>USDRUB tomorrow</c:v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Q$9:$Q$2158</c:f>
              <c:numCache>
                <c:formatCode>yyyy\-mm\-dd;@</c:formatCode>
                <c:ptCount val="2150"/>
                <c:pt idx="0">
                  <c:v>41283</c:v>
                </c:pt>
                <c:pt idx="1">
                  <c:v>41284</c:v>
                </c:pt>
                <c:pt idx="2">
                  <c:v>41285</c:v>
                </c:pt>
                <c:pt idx="3">
                  <c:v>41288</c:v>
                </c:pt>
                <c:pt idx="4">
                  <c:v>41289</c:v>
                </c:pt>
                <c:pt idx="5">
                  <c:v>41290</c:v>
                </c:pt>
                <c:pt idx="6">
                  <c:v>41291</c:v>
                </c:pt>
                <c:pt idx="7">
                  <c:v>41292</c:v>
                </c:pt>
                <c:pt idx="8">
                  <c:v>41295</c:v>
                </c:pt>
                <c:pt idx="9">
                  <c:v>41296</c:v>
                </c:pt>
                <c:pt idx="10">
                  <c:v>41297</c:v>
                </c:pt>
                <c:pt idx="11">
                  <c:v>41298</c:v>
                </c:pt>
                <c:pt idx="12">
                  <c:v>41299</c:v>
                </c:pt>
                <c:pt idx="13">
                  <c:v>41302</c:v>
                </c:pt>
                <c:pt idx="14">
                  <c:v>41303</c:v>
                </c:pt>
                <c:pt idx="15">
                  <c:v>41304</c:v>
                </c:pt>
                <c:pt idx="16">
                  <c:v>41305</c:v>
                </c:pt>
                <c:pt idx="17">
                  <c:v>41306</c:v>
                </c:pt>
                <c:pt idx="18">
                  <c:v>41309</c:v>
                </c:pt>
                <c:pt idx="19">
                  <c:v>41310</c:v>
                </c:pt>
                <c:pt idx="20">
                  <c:v>41311</c:v>
                </c:pt>
                <c:pt idx="21">
                  <c:v>41312</c:v>
                </c:pt>
                <c:pt idx="22">
                  <c:v>41313</c:v>
                </c:pt>
                <c:pt idx="23">
                  <c:v>41316</c:v>
                </c:pt>
                <c:pt idx="24">
                  <c:v>41317</c:v>
                </c:pt>
                <c:pt idx="25">
                  <c:v>41318</c:v>
                </c:pt>
                <c:pt idx="26">
                  <c:v>41319</c:v>
                </c:pt>
                <c:pt idx="27">
                  <c:v>41320</c:v>
                </c:pt>
                <c:pt idx="28">
                  <c:v>41323</c:v>
                </c:pt>
                <c:pt idx="29">
                  <c:v>41324</c:v>
                </c:pt>
                <c:pt idx="30">
                  <c:v>41325</c:v>
                </c:pt>
                <c:pt idx="31">
                  <c:v>41326</c:v>
                </c:pt>
                <c:pt idx="32">
                  <c:v>41327</c:v>
                </c:pt>
                <c:pt idx="33">
                  <c:v>41330</c:v>
                </c:pt>
                <c:pt idx="34">
                  <c:v>41331</c:v>
                </c:pt>
                <c:pt idx="35">
                  <c:v>41332</c:v>
                </c:pt>
                <c:pt idx="36">
                  <c:v>41333</c:v>
                </c:pt>
                <c:pt idx="37">
                  <c:v>41334</c:v>
                </c:pt>
                <c:pt idx="38">
                  <c:v>41337</c:v>
                </c:pt>
                <c:pt idx="39">
                  <c:v>41338</c:v>
                </c:pt>
                <c:pt idx="40">
                  <c:v>41339</c:v>
                </c:pt>
                <c:pt idx="41">
                  <c:v>41340</c:v>
                </c:pt>
                <c:pt idx="42">
                  <c:v>41344</c:v>
                </c:pt>
                <c:pt idx="43">
                  <c:v>41345</c:v>
                </c:pt>
                <c:pt idx="44">
                  <c:v>41346</c:v>
                </c:pt>
                <c:pt idx="45">
                  <c:v>41347</c:v>
                </c:pt>
                <c:pt idx="46">
                  <c:v>41348</c:v>
                </c:pt>
                <c:pt idx="47">
                  <c:v>41351</c:v>
                </c:pt>
                <c:pt idx="48">
                  <c:v>41352</c:v>
                </c:pt>
                <c:pt idx="49">
                  <c:v>41353</c:v>
                </c:pt>
                <c:pt idx="50">
                  <c:v>41354</c:v>
                </c:pt>
                <c:pt idx="51">
                  <c:v>41355</c:v>
                </c:pt>
                <c:pt idx="52">
                  <c:v>41358</c:v>
                </c:pt>
                <c:pt idx="53">
                  <c:v>41359</c:v>
                </c:pt>
                <c:pt idx="54">
                  <c:v>41360</c:v>
                </c:pt>
                <c:pt idx="55">
                  <c:v>41361</c:v>
                </c:pt>
                <c:pt idx="56">
                  <c:v>41362</c:v>
                </c:pt>
                <c:pt idx="57">
                  <c:v>41365</c:v>
                </c:pt>
                <c:pt idx="58">
                  <c:v>41366</c:v>
                </c:pt>
                <c:pt idx="59">
                  <c:v>41367</c:v>
                </c:pt>
                <c:pt idx="60">
                  <c:v>41368</c:v>
                </c:pt>
                <c:pt idx="61">
                  <c:v>41369</c:v>
                </c:pt>
                <c:pt idx="62">
                  <c:v>41372</c:v>
                </c:pt>
                <c:pt idx="63">
                  <c:v>41373</c:v>
                </c:pt>
                <c:pt idx="64">
                  <c:v>41374</c:v>
                </c:pt>
                <c:pt idx="65">
                  <c:v>41375</c:v>
                </c:pt>
                <c:pt idx="66">
                  <c:v>41376</c:v>
                </c:pt>
                <c:pt idx="67">
                  <c:v>41379</c:v>
                </c:pt>
                <c:pt idx="68">
                  <c:v>41380</c:v>
                </c:pt>
                <c:pt idx="69">
                  <c:v>41381</c:v>
                </c:pt>
                <c:pt idx="70">
                  <c:v>41382</c:v>
                </c:pt>
                <c:pt idx="71">
                  <c:v>41383</c:v>
                </c:pt>
                <c:pt idx="72">
                  <c:v>41386</c:v>
                </c:pt>
                <c:pt idx="73">
                  <c:v>41387</c:v>
                </c:pt>
                <c:pt idx="74">
                  <c:v>41388</c:v>
                </c:pt>
                <c:pt idx="75">
                  <c:v>41389</c:v>
                </c:pt>
                <c:pt idx="76">
                  <c:v>41390</c:v>
                </c:pt>
                <c:pt idx="77">
                  <c:v>41393</c:v>
                </c:pt>
                <c:pt idx="78">
                  <c:v>41394</c:v>
                </c:pt>
                <c:pt idx="79">
                  <c:v>41396</c:v>
                </c:pt>
                <c:pt idx="80">
                  <c:v>41397</c:v>
                </c:pt>
                <c:pt idx="81">
                  <c:v>41400</c:v>
                </c:pt>
                <c:pt idx="82">
                  <c:v>41401</c:v>
                </c:pt>
                <c:pt idx="83">
                  <c:v>41402</c:v>
                </c:pt>
                <c:pt idx="84">
                  <c:v>41404</c:v>
                </c:pt>
                <c:pt idx="85">
                  <c:v>41407</c:v>
                </c:pt>
                <c:pt idx="86">
                  <c:v>41408</c:v>
                </c:pt>
                <c:pt idx="87">
                  <c:v>41409</c:v>
                </c:pt>
                <c:pt idx="88">
                  <c:v>41410</c:v>
                </c:pt>
                <c:pt idx="89">
                  <c:v>41411</c:v>
                </c:pt>
                <c:pt idx="90">
                  <c:v>41414</c:v>
                </c:pt>
                <c:pt idx="91">
                  <c:v>41415</c:v>
                </c:pt>
                <c:pt idx="92">
                  <c:v>41416</c:v>
                </c:pt>
                <c:pt idx="93">
                  <c:v>41417</c:v>
                </c:pt>
                <c:pt idx="94">
                  <c:v>41418</c:v>
                </c:pt>
                <c:pt idx="95">
                  <c:v>41421</c:v>
                </c:pt>
                <c:pt idx="96">
                  <c:v>41422</c:v>
                </c:pt>
                <c:pt idx="97">
                  <c:v>41423</c:v>
                </c:pt>
                <c:pt idx="98">
                  <c:v>41424</c:v>
                </c:pt>
                <c:pt idx="99">
                  <c:v>41425</c:v>
                </c:pt>
                <c:pt idx="100">
                  <c:v>41428</c:v>
                </c:pt>
                <c:pt idx="101">
                  <c:v>41429</c:v>
                </c:pt>
                <c:pt idx="102">
                  <c:v>41430</c:v>
                </c:pt>
                <c:pt idx="103">
                  <c:v>41431</c:v>
                </c:pt>
                <c:pt idx="104">
                  <c:v>41432</c:v>
                </c:pt>
                <c:pt idx="105">
                  <c:v>41435</c:v>
                </c:pt>
                <c:pt idx="106">
                  <c:v>41436</c:v>
                </c:pt>
                <c:pt idx="107">
                  <c:v>41438</c:v>
                </c:pt>
                <c:pt idx="108">
                  <c:v>41439</c:v>
                </c:pt>
                <c:pt idx="109">
                  <c:v>41442</c:v>
                </c:pt>
                <c:pt idx="110">
                  <c:v>41443</c:v>
                </c:pt>
                <c:pt idx="111">
                  <c:v>41444</c:v>
                </c:pt>
                <c:pt idx="112">
                  <c:v>41445</c:v>
                </c:pt>
                <c:pt idx="113">
                  <c:v>41446</c:v>
                </c:pt>
                <c:pt idx="114">
                  <c:v>41449</c:v>
                </c:pt>
                <c:pt idx="115">
                  <c:v>41450</c:v>
                </c:pt>
                <c:pt idx="116">
                  <c:v>41451</c:v>
                </c:pt>
                <c:pt idx="117">
                  <c:v>41452</c:v>
                </c:pt>
                <c:pt idx="118">
                  <c:v>41453</c:v>
                </c:pt>
                <c:pt idx="119">
                  <c:v>41456</c:v>
                </c:pt>
                <c:pt idx="120">
                  <c:v>41457</c:v>
                </c:pt>
                <c:pt idx="121">
                  <c:v>41458</c:v>
                </c:pt>
                <c:pt idx="122">
                  <c:v>41459</c:v>
                </c:pt>
                <c:pt idx="123">
                  <c:v>41460</c:v>
                </c:pt>
                <c:pt idx="124">
                  <c:v>41463</c:v>
                </c:pt>
                <c:pt idx="125">
                  <c:v>41464</c:v>
                </c:pt>
                <c:pt idx="126">
                  <c:v>41465</c:v>
                </c:pt>
                <c:pt idx="127">
                  <c:v>41466</c:v>
                </c:pt>
                <c:pt idx="128">
                  <c:v>41467</c:v>
                </c:pt>
                <c:pt idx="129">
                  <c:v>41470</c:v>
                </c:pt>
                <c:pt idx="130">
                  <c:v>41471</c:v>
                </c:pt>
                <c:pt idx="131">
                  <c:v>41472</c:v>
                </c:pt>
                <c:pt idx="132">
                  <c:v>41473</c:v>
                </c:pt>
                <c:pt idx="133">
                  <c:v>41474</c:v>
                </c:pt>
                <c:pt idx="134">
                  <c:v>41477</c:v>
                </c:pt>
                <c:pt idx="135">
                  <c:v>41478</c:v>
                </c:pt>
                <c:pt idx="136">
                  <c:v>41479</c:v>
                </c:pt>
                <c:pt idx="137">
                  <c:v>41480</c:v>
                </c:pt>
                <c:pt idx="138">
                  <c:v>41481</c:v>
                </c:pt>
                <c:pt idx="139">
                  <c:v>41484</c:v>
                </c:pt>
                <c:pt idx="140">
                  <c:v>41485</c:v>
                </c:pt>
                <c:pt idx="141">
                  <c:v>41486</c:v>
                </c:pt>
                <c:pt idx="142">
                  <c:v>41487</c:v>
                </c:pt>
                <c:pt idx="143">
                  <c:v>41488</c:v>
                </c:pt>
                <c:pt idx="144">
                  <c:v>41491</c:v>
                </c:pt>
                <c:pt idx="145">
                  <c:v>41492</c:v>
                </c:pt>
                <c:pt idx="146">
                  <c:v>41493</c:v>
                </c:pt>
                <c:pt idx="147">
                  <c:v>41494</c:v>
                </c:pt>
                <c:pt idx="148">
                  <c:v>41495</c:v>
                </c:pt>
                <c:pt idx="149">
                  <c:v>41498</c:v>
                </c:pt>
                <c:pt idx="150">
                  <c:v>41499</c:v>
                </c:pt>
                <c:pt idx="151">
                  <c:v>41500</c:v>
                </c:pt>
                <c:pt idx="152">
                  <c:v>41501</c:v>
                </c:pt>
                <c:pt idx="153">
                  <c:v>41502</c:v>
                </c:pt>
                <c:pt idx="154">
                  <c:v>41505</c:v>
                </c:pt>
                <c:pt idx="155">
                  <c:v>41506</c:v>
                </c:pt>
                <c:pt idx="156">
                  <c:v>41507</c:v>
                </c:pt>
                <c:pt idx="157">
                  <c:v>41508</c:v>
                </c:pt>
                <c:pt idx="158">
                  <c:v>41509</c:v>
                </c:pt>
                <c:pt idx="159">
                  <c:v>41512</c:v>
                </c:pt>
                <c:pt idx="160">
                  <c:v>41513</c:v>
                </c:pt>
                <c:pt idx="161">
                  <c:v>41514</c:v>
                </c:pt>
                <c:pt idx="162">
                  <c:v>41515</c:v>
                </c:pt>
                <c:pt idx="163">
                  <c:v>41516</c:v>
                </c:pt>
                <c:pt idx="164">
                  <c:v>41519</c:v>
                </c:pt>
                <c:pt idx="165">
                  <c:v>41520</c:v>
                </c:pt>
                <c:pt idx="166">
                  <c:v>41521</c:v>
                </c:pt>
                <c:pt idx="167">
                  <c:v>41522</c:v>
                </c:pt>
                <c:pt idx="168">
                  <c:v>41523</c:v>
                </c:pt>
                <c:pt idx="169">
                  <c:v>41526</c:v>
                </c:pt>
                <c:pt idx="170">
                  <c:v>41527</c:v>
                </c:pt>
                <c:pt idx="171">
                  <c:v>41528</c:v>
                </c:pt>
                <c:pt idx="172">
                  <c:v>41529</c:v>
                </c:pt>
                <c:pt idx="173">
                  <c:v>41530</c:v>
                </c:pt>
                <c:pt idx="174">
                  <c:v>41533</c:v>
                </c:pt>
                <c:pt idx="175">
                  <c:v>41534</c:v>
                </c:pt>
                <c:pt idx="176">
                  <c:v>41535</c:v>
                </c:pt>
                <c:pt idx="177">
                  <c:v>41536</c:v>
                </c:pt>
                <c:pt idx="178">
                  <c:v>41537</c:v>
                </c:pt>
                <c:pt idx="179">
                  <c:v>41540</c:v>
                </c:pt>
                <c:pt idx="180">
                  <c:v>41541</c:v>
                </c:pt>
                <c:pt idx="181">
                  <c:v>41542</c:v>
                </c:pt>
                <c:pt idx="182">
                  <c:v>41543</c:v>
                </c:pt>
                <c:pt idx="183">
                  <c:v>41544</c:v>
                </c:pt>
                <c:pt idx="184">
                  <c:v>41547</c:v>
                </c:pt>
                <c:pt idx="185">
                  <c:v>41548</c:v>
                </c:pt>
                <c:pt idx="186">
                  <c:v>41549</c:v>
                </c:pt>
                <c:pt idx="187">
                  <c:v>41550</c:v>
                </c:pt>
                <c:pt idx="188">
                  <c:v>41551</c:v>
                </c:pt>
                <c:pt idx="189">
                  <c:v>41554</c:v>
                </c:pt>
                <c:pt idx="190">
                  <c:v>41555</c:v>
                </c:pt>
                <c:pt idx="191">
                  <c:v>41556</c:v>
                </c:pt>
                <c:pt idx="192">
                  <c:v>41557</c:v>
                </c:pt>
                <c:pt idx="193">
                  <c:v>41558</c:v>
                </c:pt>
                <c:pt idx="194">
                  <c:v>41561</c:v>
                </c:pt>
                <c:pt idx="195">
                  <c:v>41562</c:v>
                </c:pt>
                <c:pt idx="196">
                  <c:v>41563</c:v>
                </c:pt>
                <c:pt idx="197">
                  <c:v>41564</c:v>
                </c:pt>
                <c:pt idx="198">
                  <c:v>41565</c:v>
                </c:pt>
                <c:pt idx="199">
                  <c:v>41568</c:v>
                </c:pt>
                <c:pt idx="200">
                  <c:v>41569</c:v>
                </c:pt>
                <c:pt idx="201">
                  <c:v>41570</c:v>
                </c:pt>
                <c:pt idx="202">
                  <c:v>41571</c:v>
                </c:pt>
                <c:pt idx="203">
                  <c:v>41572</c:v>
                </c:pt>
                <c:pt idx="204">
                  <c:v>41575</c:v>
                </c:pt>
                <c:pt idx="205">
                  <c:v>41576</c:v>
                </c:pt>
                <c:pt idx="206">
                  <c:v>41577</c:v>
                </c:pt>
                <c:pt idx="207">
                  <c:v>41578</c:v>
                </c:pt>
                <c:pt idx="208">
                  <c:v>41579</c:v>
                </c:pt>
                <c:pt idx="209">
                  <c:v>41583</c:v>
                </c:pt>
                <c:pt idx="210">
                  <c:v>41584</c:v>
                </c:pt>
                <c:pt idx="211">
                  <c:v>41585</c:v>
                </c:pt>
                <c:pt idx="212">
                  <c:v>41586</c:v>
                </c:pt>
                <c:pt idx="213">
                  <c:v>41589</c:v>
                </c:pt>
                <c:pt idx="214">
                  <c:v>41590</c:v>
                </c:pt>
                <c:pt idx="215">
                  <c:v>41591</c:v>
                </c:pt>
                <c:pt idx="216">
                  <c:v>41592</c:v>
                </c:pt>
                <c:pt idx="217">
                  <c:v>41593</c:v>
                </c:pt>
                <c:pt idx="218">
                  <c:v>41596</c:v>
                </c:pt>
                <c:pt idx="219">
                  <c:v>41597</c:v>
                </c:pt>
                <c:pt idx="220">
                  <c:v>41598</c:v>
                </c:pt>
                <c:pt idx="221">
                  <c:v>41599</c:v>
                </c:pt>
                <c:pt idx="222">
                  <c:v>41600</c:v>
                </c:pt>
                <c:pt idx="223">
                  <c:v>41603</c:v>
                </c:pt>
                <c:pt idx="224">
                  <c:v>41604</c:v>
                </c:pt>
                <c:pt idx="225">
                  <c:v>41605</c:v>
                </c:pt>
                <c:pt idx="226">
                  <c:v>41606</c:v>
                </c:pt>
                <c:pt idx="227">
                  <c:v>41607</c:v>
                </c:pt>
                <c:pt idx="228">
                  <c:v>41610</c:v>
                </c:pt>
                <c:pt idx="229">
                  <c:v>41611</c:v>
                </c:pt>
                <c:pt idx="230">
                  <c:v>41612</c:v>
                </c:pt>
                <c:pt idx="231">
                  <c:v>41613</c:v>
                </c:pt>
                <c:pt idx="232">
                  <c:v>41614</c:v>
                </c:pt>
                <c:pt idx="233">
                  <c:v>41617</c:v>
                </c:pt>
                <c:pt idx="234">
                  <c:v>41618</c:v>
                </c:pt>
                <c:pt idx="235">
                  <c:v>41619</c:v>
                </c:pt>
                <c:pt idx="236">
                  <c:v>41620</c:v>
                </c:pt>
                <c:pt idx="237">
                  <c:v>41621</c:v>
                </c:pt>
                <c:pt idx="238">
                  <c:v>41624</c:v>
                </c:pt>
                <c:pt idx="239">
                  <c:v>41625</c:v>
                </c:pt>
                <c:pt idx="240">
                  <c:v>41626</c:v>
                </c:pt>
                <c:pt idx="241">
                  <c:v>41627</c:v>
                </c:pt>
                <c:pt idx="242">
                  <c:v>41628</c:v>
                </c:pt>
                <c:pt idx="243">
                  <c:v>41631</c:v>
                </c:pt>
                <c:pt idx="244">
                  <c:v>41632</c:v>
                </c:pt>
                <c:pt idx="245">
                  <c:v>41633</c:v>
                </c:pt>
                <c:pt idx="246">
                  <c:v>41634</c:v>
                </c:pt>
                <c:pt idx="247">
                  <c:v>41635</c:v>
                </c:pt>
                <c:pt idx="248">
                  <c:v>41638</c:v>
                </c:pt>
                <c:pt idx="249">
                  <c:v>41645</c:v>
                </c:pt>
                <c:pt idx="250">
                  <c:v>41647</c:v>
                </c:pt>
                <c:pt idx="251">
                  <c:v>41648</c:v>
                </c:pt>
                <c:pt idx="252">
                  <c:v>41649</c:v>
                </c:pt>
                <c:pt idx="253">
                  <c:v>41652</c:v>
                </c:pt>
                <c:pt idx="254">
                  <c:v>41653</c:v>
                </c:pt>
                <c:pt idx="255">
                  <c:v>41654</c:v>
                </c:pt>
                <c:pt idx="256">
                  <c:v>41655</c:v>
                </c:pt>
                <c:pt idx="257">
                  <c:v>41656</c:v>
                </c:pt>
                <c:pt idx="258">
                  <c:v>41659</c:v>
                </c:pt>
                <c:pt idx="259">
                  <c:v>41660</c:v>
                </c:pt>
                <c:pt idx="260">
                  <c:v>41661</c:v>
                </c:pt>
                <c:pt idx="261">
                  <c:v>41662</c:v>
                </c:pt>
                <c:pt idx="262">
                  <c:v>41663</c:v>
                </c:pt>
                <c:pt idx="263">
                  <c:v>41666</c:v>
                </c:pt>
                <c:pt idx="264">
                  <c:v>41667</c:v>
                </c:pt>
                <c:pt idx="265">
                  <c:v>41668</c:v>
                </c:pt>
                <c:pt idx="266">
                  <c:v>41669</c:v>
                </c:pt>
                <c:pt idx="267">
                  <c:v>41670</c:v>
                </c:pt>
                <c:pt idx="268">
                  <c:v>41673</c:v>
                </c:pt>
                <c:pt idx="269">
                  <c:v>41674</c:v>
                </c:pt>
                <c:pt idx="270">
                  <c:v>41675</c:v>
                </c:pt>
                <c:pt idx="271">
                  <c:v>41676</c:v>
                </c:pt>
                <c:pt idx="272">
                  <c:v>41677</c:v>
                </c:pt>
                <c:pt idx="273">
                  <c:v>41680</c:v>
                </c:pt>
                <c:pt idx="274">
                  <c:v>41681</c:v>
                </c:pt>
                <c:pt idx="275">
                  <c:v>41682</c:v>
                </c:pt>
                <c:pt idx="276">
                  <c:v>41683</c:v>
                </c:pt>
                <c:pt idx="277">
                  <c:v>41684</c:v>
                </c:pt>
                <c:pt idx="278">
                  <c:v>41687</c:v>
                </c:pt>
                <c:pt idx="279">
                  <c:v>41688</c:v>
                </c:pt>
                <c:pt idx="280">
                  <c:v>41689</c:v>
                </c:pt>
                <c:pt idx="281">
                  <c:v>41690</c:v>
                </c:pt>
                <c:pt idx="282">
                  <c:v>41691</c:v>
                </c:pt>
                <c:pt idx="283">
                  <c:v>41694</c:v>
                </c:pt>
                <c:pt idx="284">
                  <c:v>41695</c:v>
                </c:pt>
                <c:pt idx="285">
                  <c:v>41696</c:v>
                </c:pt>
                <c:pt idx="286">
                  <c:v>41697</c:v>
                </c:pt>
                <c:pt idx="287">
                  <c:v>41698</c:v>
                </c:pt>
                <c:pt idx="288">
                  <c:v>41701</c:v>
                </c:pt>
                <c:pt idx="289">
                  <c:v>41702</c:v>
                </c:pt>
                <c:pt idx="290">
                  <c:v>41703</c:v>
                </c:pt>
                <c:pt idx="291">
                  <c:v>41704</c:v>
                </c:pt>
                <c:pt idx="292">
                  <c:v>41705</c:v>
                </c:pt>
                <c:pt idx="293">
                  <c:v>41709</c:v>
                </c:pt>
                <c:pt idx="294">
                  <c:v>41710</c:v>
                </c:pt>
                <c:pt idx="295">
                  <c:v>41711</c:v>
                </c:pt>
                <c:pt idx="296">
                  <c:v>41712</c:v>
                </c:pt>
                <c:pt idx="297">
                  <c:v>41715</c:v>
                </c:pt>
                <c:pt idx="298">
                  <c:v>41716</c:v>
                </c:pt>
                <c:pt idx="299">
                  <c:v>41717</c:v>
                </c:pt>
                <c:pt idx="300">
                  <c:v>41718</c:v>
                </c:pt>
                <c:pt idx="301">
                  <c:v>41719</c:v>
                </c:pt>
                <c:pt idx="302">
                  <c:v>41722</c:v>
                </c:pt>
                <c:pt idx="303">
                  <c:v>41723</c:v>
                </c:pt>
                <c:pt idx="304">
                  <c:v>41724</c:v>
                </c:pt>
                <c:pt idx="305">
                  <c:v>41725</c:v>
                </c:pt>
                <c:pt idx="306">
                  <c:v>41726</c:v>
                </c:pt>
                <c:pt idx="307">
                  <c:v>41729</c:v>
                </c:pt>
                <c:pt idx="308">
                  <c:v>41730</c:v>
                </c:pt>
                <c:pt idx="309">
                  <c:v>41731</c:v>
                </c:pt>
                <c:pt idx="310">
                  <c:v>41732</c:v>
                </c:pt>
                <c:pt idx="311">
                  <c:v>41733</c:v>
                </c:pt>
                <c:pt idx="312">
                  <c:v>41736</c:v>
                </c:pt>
                <c:pt idx="313">
                  <c:v>41737</c:v>
                </c:pt>
                <c:pt idx="314">
                  <c:v>41738</c:v>
                </c:pt>
                <c:pt idx="315">
                  <c:v>41739</c:v>
                </c:pt>
                <c:pt idx="316">
                  <c:v>41740</c:v>
                </c:pt>
                <c:pt idx="317">
                  <c:v>41743</c:v>
                </c:pt>
                <c:pt idx="318">
                  <c:v>41744</c:v>
                </c:pt>
                <c:pt idx="319">
                  <c:v>41745</c:v>
                </c:pt>
                <c:pt idx="320">
                  <c:v>41746</c:v>
                </c:pt>
                <c:pt idx="321">
                  <c:v>41747</c:v>
                </c:pt>
                <c:pt idx="322">
                  <c:v>41750</c:v>
                </c:pt>
                <c:pt idx="323">
                  <c:v>41751</c:v>
                </c:pt>
                <c:pt idx="324">
                  <c:v>41752</c:v>
                </c:pt>
                <c:pt idx="325">
                  <c:v>41753</c:v>
                </c:pt>
                <c:pt idx="326">
                  <c:v>41754</c:v>
                </c:pt>
                <c:pt idx="327">
                  <c:v>41757</c:v>
                </c:pt>
                <c:pt idx="328">
                  <c:v>41758</c:v>
                </c:pt>
                <c:pt idx="329">
                  <c:v>41759</c:v>
                </c:pt>
                <c:pt idx="330">
                  <c:v>41761</c:v>
                </c:pt>
                <c:pt idx="331">
                  <c:v>41764</c:v>
                </c:pt>
                <c:pt idx="332">
                  <c:v>41765</c:v>
                </c:pt>
                <c:pt idx="333">
                  <c:v>41766</c:v>
                </c:pt>
                <c:pt idx="334">
                  <c:v>41767</c:v>
                </c:pt>
                <c:pt idx="335">
                  <c:v>41771</c:v>
                </c:pt>
                <c:pt idx="336">
                  <c:v>41772</c:v>
                </c:pt>
                <c:pt idx="337">
                  <c:v>41773</c:v>
                </c:pt>
                <c:pt idx="338">
                  <c:v>41774</c:v>
                </c:pt>
                <c:pt idx="339">
                  <c:v>41775</c:v>
                </c:pt>
                <c:pt idx="340">
                  <c:v>41778</c:v>
                </c:pt>
                <c:pt idx="341">
                  <c:v>41779</c:v>
                </c:pt>
                <c:pt idx="342">
                  <c:v>41780</c:v>
                </c:pt>
                <c:pt idx="343">
                  <c:v>41781</c:v>
                </c:pt>
                <c:pt idx="344">
                  <c:v>41782</c:v>
                </c:pt>
                <c:pt idx="345">
                  <c:v>41785</c:v>
                </c:pt>
                <c:pt idx="346">
                  <c:v>41786</c:v>
                </c:pt>
                <c:pt idx="347">
                  <c:v>41787</c:v>
                </c:pt>
                <c:pt idx="348">
                  <c:v>41788</c:v>
                </c:pt>
                <c:pt idx="349">
                  <c:v>41789</c:v>
                </c:pt>
                <c:pt idx="350">
                  <c:v>41792</c:v>
                </c:pt>
                <c:pt idx="351">
                  <c:v>41793</c:v>
                </c:pt>
                <c:pt idx="352">
                  <c:v>41794</c:v>
                </c:pt>
                <c:pt idx="353">
                  <c:v>41795</c:v>
                </c:pt>
                <c:pt idx="354">
                  <c:v>41796</c:v>
                </c:pt>
                <c:pt idx="355">
                  <c:v>41799</c:v>
                </c:pt>
                <c:pt idx="356">
                  <c:v>41800</c:v>
                </c:pt>
                <c:pt idx="357">
                  <c:v>41801</c:v>
                </c:pt>
                <c:pt idx="358">
                  <c:v>41803</c:v>
                </c:pt>
                <c:pt idx="359">
                  <c:v>41806</c:v>
                </c:pt>
                <c:pt idx="360">
                  <c:v>41807</c:v>
                </c:pt>
                <c:pt idx="361">
                  <c:v>41808</c:v>
                </c:pt>
                <c:pt idx="362">
                  <c:v>41809</c:v>
                </c:pt>
                <c:pt idx="363">
                  <c:v>41810</c:v>
                </c:pt>
                <c:pt idx="364">
                  <c:v>41813</c:v>
                </c:pt>
                <c:pt idx="365">
                  <c:v>41814</c:v>
                </c:pt>
                <c:pt idx="366">
                  <c:v>41815</c:v>
                </c:pt>
                <c:pt idx="367">
                  <c:v>41816</c:v>
                </c:pt>
                <c:pt idx="368">
                  <c:v>41817</c:v>
                </c:pt>
                <c:pt idx="369">
                  <c:v>41820</c:v>
                </c:pt>
                <c:pt idx="370">
                  <c:v>41821</c:v>
                </c:pt>
                <c:pt idx="371">
                  <c:v>41822</c:v>
                </c:pt>
                <c:pt idx="372">
                  <c:v>41823</c:v>
                </c:pt>
                <c:pt idx="373">
                  <c:v>41824</c:v>
                </c:pt>
                <c:pt idx="374">
                  <c:v>41827</c:v>
                </c:pt>
                <c:pt idx="375">
                  <c:v>41828</c:v>
                </c:pt>
                <c:pt idx="376">
                  <c:v>41829</c:v>
                </c:pt>
                <c:pt idx="377">
                  <c:v>41830</c:v>
                </c:pt>
                <c:pt idx="378">
                  <c:v>41831</c:v>
                </c:pt>
                <c:pt idx="379">
                  <c:v>41834</c:v>
                </c:pt>
                <c:pt idx="380">
                  <c:v>41835</c:v>
                </c:pt>
                <c:pt idx="381">
                  <c:v>41836</c:v>
                </c:pt>
                <c:pt idx="382">
                  <c:v>41837</c:v>
                </c:pt>
                <c:pt idx="383">
                  <c:v>41838</c:v>
                </c:pt>
                <c:pt idx="384">
                  <c:v>41841</c:v>
                </c:pt>
                <c:pt idx="385">
                  <c:v>41842</c:v>
                </c:pt>
                <c:pt idx="386">
                  <c:v>41843</c:v>
                </c:pt>
                <c:pt idx="387">
                  <c:v>41844</c:v>
                </c:pt>
                <c:pt idx="388">
                  <c:v>41845</c:v>
                </c:pt>
                <c:pt idx="389">
                  <c:v>41848</c:v>
                </c:pt>
                <c:pt idx="390">
                  <c:v>41849</c:v>
                </c:pt>
                <c:pt idx="391">
                  <c:v>41850</c:v>
                </c:pt>
                <c:pt idx="392">
                  <c:v>41851</c:v>
                </c:pt>
                <c:pt idx="393">
                  <c:v>41852</c:v>
                </c:pt>
                <c:pt idx="394">
                  <c:v>41855</c:v>
                </c:pt>
                <c:pt idx="395">
                  <c:v>41856</c:v>
                </c:pt>
                <c:pt idx="396">
                  <c:v>41857</c:v>
                </c:pt>
                <c:pt idx="397">
                  <c:v>41858</c:v>
                </c:pt>
                <c:pt idx="398">
                  <c:v>41859</c:v>
                </c:pt>
                <c:pt idx="399">
                  <c:v>41862</c:v>
                </c:pt>
                <c:pt idx="400">
                  <c:v>41863</c:v>
                </c:pt>
                <c:pt idx="401">
                  <c:v>41864</c:v>
                </c:pt>
                <c:pt idx="402">
                  <c:v>41865</c:v>
                </c:pt>
                <c:pt idx="403">
                  <c:v>41866</c:v>
                </c:pt>
                <c:pt idx="404">
                  <c:v>41869</c:v>
                </c:pt>
                <c:pt idx="405">
                  <c:v>41870</c:v>
                </c:pt>
                <c:pt idx="406">
                  <c:v>41871</c:v>
                </c:pt>
                <c:pt idx="407">
                  <c:v>41872</c:v>
                </c:pt>
                <c:pt idx="408">
                  <c:v>41873</c:v>
                </c:pt>
                <c:pt idx="409">
                  <c:v>41876</c:v>
                </c:pt>
                <c:pt idx="410">
                  <c:v>41877</c:v>
                </c:pt>
                <c:pt idx="411">
                  <c:v>41878</c:v>
                </c:pt>
                <c:pt idx="412">
                  <c:v>41879</c:v>
                </c:pt>
                <c:pt idx="413">
                  <c:v>41880</c:v>
                </c:pt>
                <c:pt idx="414">
                  <c:v>41883</c:v>
                </c:pt>
                <c:pt idx="415">
                  <c:v>41884</c:v>
                </c:pt>
                <c:pt idx="416">
                  <c:v>41885</c:v>
                </c:pt>
                <c:pt idx="417">
                  <c:v>41886</c:v>
                </c:pt>
                <c:pt idx="418">
                  <c:v>41887</c:v>
                </c:pt>
                <c:pt idx="419">
                  <c:v>41890</c:v>
                </c:pt>
                <c:pt idx="420">
                  <c:v>41891</c:v>
                </c:pt>
                <c:pt idx="421">
                  <c:v>41892</c:v>
                </c:pt>
                <c:pt idx="422">
                  <c:v>41893</c:v>
                </c:pt>
                <c:pt idx="423">
                  <c:v>41894</c:v>
                </c:pt>
                <c:pt idx="424">
                  <c:v>41897</c:v>
                </c:pt>
                <c:pt idx="425">
                  <c:v>41898</c:v>
                </c:pt>
                <c:pt idx="426">
                  <c:v>41899</c:v>
                </c:pt>
                <c:pt idx="427">
                  <c:v>41900</c:v>
                </c:pt>
                <c:pt idx="428">
                  <c:v>41901</c:v>
                </c:pt>
                <c:pt idx="429">
                  <c:v>41904</c:v>
                </c:pt>
                <c:pt idx="430">
                  <c:v>41905</c:v>
                </c:pt>
                <c:pt idx="431">
                  <c:v>41906</c:v>
                </c:pt>
                <c:pt idx="432">
                  <c:v>41907</c:v>
                </c:pt>
                <c:pt idx="433">
                  <c:v>41908</c:v>
                </c:pt>
                <c:pt idx="434">
                  <c:v>41911</c:v>
                </c:pt>
                <c:pt idx="435">
                  <c:v>41912</c:v>
                </c:pt>
                <c:pt idx="436">
                  <c:v>41913</c:v>
                </c:pt>
                <c:pt idx="437">
                  <c:v>41914</c:v>
                </c:pt>
                <c:pt idx="438">
                  <c:v>41915</c:v>
                </c:pt>
                <c:pt idx="439">
                  <c:v>41918</c:v>
                </c:pt>
                <c:pt idx="440">
                  <c:v>41919</c:v>
                </c:pt>
                <c:pt idx="441">
                  <c:v>41920</c:v>
                </c:pt>
                <c:pt idx="442">
                  <c:v>41921</c:v>
                </c:pt>
                <c:pt idx="443">
                  <c:v>41922</c:v>
                </c:pt>
                <c:pt idx="444">
                  <c:v>41925</c:v>
                </c:pt>
                <c:pt idx="445">
                  <c:v>41926</c:v>
                </c:pt>
                <c:pt idx="446">
                  <c:v>41927</c:v>
                </c:pt>
                <c:pt idx="447">
                  <c:v>41928</c:v>
                </c:pt>
                <c:pt idx="448">
                  <c:v>41929</c:v>
                </c:pt>
                <c:pt idx="449">
                  <c:v>41932</c:v>
                </c:pt>
                <c:pt idx="450">
                  <c:v>41933</c:v>
                </c:pt>
                <c:pt idx="451">
                  <c:v>41934</c:v>
                </c:pt>
                <c:pt idx="452">
                  <c:v>41935</c:v>
                </c:pt>
                <c:pt idx="453">
                  <c:v>41936</c:v>
                </c:pt>
                <c:pt idx="454">
                  <c:v>41939</c:v>
                </c:pt>
                <c:pt idx="455">
                  <c:v>41940</c:v>
                </c:pt>
                <c:pt idx="456">
                  <c:v>41941</c:v>
                </c:pt>
                <c:pt idx="457">
                  <c:v>41942</c:v>
                </c:pt>
                <c:pt idx="458">
                  <c:v>41943</c:v>
                </c:pt>
                <c:pt idx="459">
                  <c:v>41946</c:v>
                </c:pt>
                <c:pt idx="460">
                  <c:v>41948</c:v>
                </c:pt>
                <c:pt idx="461">
                  <c:v>41949</c:v>
                </c:pt>
                <c:pt idx="462">
                  <c:v>41950</c:v>
                </c:pt>
                <c:pt idx="463">
                  <c:v>41953</c:v>
                </c:pt>
                <c:pt idx="464">
                  <c:v>41954</c:v>
                </c:pt>
                <c:pt idx="465">
                  <c:v>41955</c:v>
                </c:pt>
                <c:pt idx="466">
                  <c:v>41956</c:v>
                </c:pt>
                <c:pt idx="467">
                  <c:v>41957</c:v>
                </c:pt>
                <c:pt idx="468">
                  <c:v>41960</c:v>
                </c:pt>
                <c:pt idx="469">
                  <c:v>41961</c:v>
                </c:pt>
                <c:pt idx="470">
                  <c:v>41962</c:v>
                </c:pt>
                <c:pt idx="471">
                  <c:v>41963</c:v>
                </c:pt>
                <c:pt idx="472">
                  <c:v>41964</c:v>
                </c:pt>
                <c:pt idx="473">
                  <c:v>41967</c:v>
                </c:pt>
                <c:pt idx="474">
                  <c:v>41968</c:v>
                </c:pt>
                <c:pt idx="475">
                  <c:v>41969</c:v>
                </c:pt>
                <c:pt idx="476">
                  <c:v>41970</c:v>
                </c:pt>
                <c:pt idx="477">
                  <c:v>41971</c:v>
                </c:pt>
                <c:pt idx="478">
                  <c:v>41974</c:v>
                </c:pt>
                <c:pt idx="479">
                  <c:v>41975</c:v>
                </c:pt>
                <c:pt idx="480">
                  <c:v>41976</c:v>
                </c:pt>
                <c:pt idx="481">
                  <c:v>41977</c:v>
                </c:pt>
                <c:pt idx="482">
                  <c:v>41978</c:v>
                </c:pt>
                <c:pt idx="483">
                  <c:v>41981</c:v>
                </c:pt>
                <c:pt idx="484">
                  <c:v>41982</c:v>
                </c:pt>
                <c:pt idx="485">
                  <c:v>41983</c:v>
                </c:pt>
                <c:pt idx="486">
                  <c:v>41984</c:v>
                </c:pt>
                <c:pt idx="487">
                  <c:v>41985</c:v>
                </c:pt>
                <c:pt idx="488">
                  <c:v>41988</c:v>
                </c:pt>
                <c:pt idx="489">
                  <c:v>41989</c:v>
                </c:pt>
                <c:pt idx="490">
                  <c:v>41990</c:v>
                </c:pt>
                <c:pt idx="491">
                  <c:v>41991</c:v>
                </c:pt>
                <c:pt idx="492">
                  <c:v>41992</c:v>
                </c:pt>
                <c:pt idx="493">
                  <c:v>41995</c:v>
                </c:pt>
                <c:pt idx="494">
                  <c:v>41996</c:v>
                </c:pt>
                <c:pt idx="495">
                  <c:v>41997</c:v>
                </c:pt>
                <c:pt idx="496">
                  <c:v>41998</c:v>
                </c:pt>
                <c:pt idx="497">
                  <c:v>41999</c:v>
                </c:pt>
                <c:pt idx="498">
                  <c:v>42002</c:v>
                </c:pt>
                <c:pt idx="499">
                  <c:v>42003</c:v>
                </c:pt>
                <c:pt idx="500">
                  <c:v>42009</c:v>
                </c:pt>
                <c:pt idx="501">
                  <c:v>42010</c:v>
                </c:pt>
                <c:pt idx="502">
                  <c:v>42012</c:v>
                </c:pt>
                <c:pt idx="503">
                  <c:v>42013</c:v>
                </c:pt>
                <c:pt idx="504">
                  <c:v>42016</c:v>
                </c:pt>
                <c:pt idx="505">
                  <c:v>42017</c:v>
                </c:pt>
                <c:pt idx="506">
                  <c:v>42018</c:v>
                </c:pt>
                <c:pt idx="507">
                  <c:v>42019</c:v>
                </c:pt>
                <c:pt idx="508">
                  <c:v>42020</c:v>
                </c:pt>
                <c:pt idx="509">
                  <c:v>42023</c:v>
                </c:pt>
                <c:pt idx="510">
                  <c:v>42024</c:v>
                </c:pt>
                <c:pt idx="511">
                  <c:v>42025</c:v>
                </c:pt>
                <c:pt idx="512">
                  <c:v>42026</c:v>
                </c:pt>
                <c:pt idx="513">
                  <c:v>42027</c:v>
                </c:pt>
                <c:pt idx="514">
                  <c:v>42030</c:v>
                </c:pt>
                <c:pt idx="515">
                  <c:v>42031</c:v>
                </c:pt>
                <c:pt idx="516">
                  <c:v>42032</c:v>
                </c:pt>
                <c:pt idx="517">
                  <c:v>42033</c:v>
                </c:pt>
                <c:pt idx="518">
                  <c:v>42034</c:v>
                </c:pt>
                <c:pt idx="519">
                  <c:v>42037</c:v>
                </c:pt>
                <c:pt idx="520">
                  <c:v>42038</c:v>
                </c:pt>
                <c:pt idx="521">
                  <c:v>42039</c:v>
                </c:pt>
                <c:pt idx="522">
                  <c:v>42040</c:v>
                </c:pt>
                <c:pt idx="523">
                  <c:v>42041</c:v>
                </c:pt>
                <c:pt idx="524">
                  <c:v>42044</c:v>
                </c:pt>
                <c:pt idx="525">
                  <c:v>42045</c:v>
                </c:pt>
                <c:pt idx="526">
                  <c:v>42046</c:v>
                </c:pt>
                <c:pt idx="527">
                  <c:v>42047</c:v>
                </c:pt>
                <c:pt idx="528">
                  <c:v>42048</c:v>
                </c:pt>
                <c:pt idx="529">
                  <c:v>42051</c:v>
                </c:pt>
                <c:pt idx="530">
                  <c:v>42052</c:v>
                </c:pt>
                <c:pt idx="531">
                  <c:v>42053</c:v>
                </c:pt>
                <c:pt idx="532">
                  <c:v>42054</c:v>
                </c:pt>
                <c:pt idx="533">
                  <c:v>42055</c:v>
                </c:pt>
                <c:pt idx="534">
                  <c:v>42059</c:v>
                </c:pt>
                <c:pt idx="535">
                  <c:v>42060</c:v>
                </c:pt>
                <c:pt idx="536">
                  <c:v>42061</c:v>
                </c:pt>
                <c:pt idx="537">
                  <c:v>42062</c:v>
                </c:pt>
                <c:pt idx="538">
                  <c:v>42065</c:v>
                </c:pt>
                <c:pt idx="539">
                  <c:v>42066</c:v>
                </c:pt>
                <c:pt idx="540">
                  <c:v>42067</c:v>
                </c:pt>
                <c:pt idx="541">
                  <c:v>42068</c:v>
                </c:pt>
                <c:pt idx="542">
                  <c:v>42069</c:v>
                </c:pt>
                <c:pt idx="543">
                  <c:v>42073</c:v>
                </c:pt>
                <c:pt idx="544">
                  <c:v>42074</c:v>
                </c:pt>
                <c:pt idx="545">
                  <c:v>42075</c:v>
                </c:pt>
                <c:pt idx="546">
                  <c:v>42076</c:v>
                </c:pt>
                <c:pt idx="547">
                  <c:v>42079</c:v>
                </c:pt>
                <c:pt idx="548">
                  <c:v>42080</c:v>
                </c:pt>
                <c:pt idx="549">
                  <c:v>42081</c:v>
                </c:pt>
                <c:pt idx="550">
                  <c:v>42082</c:v>
                </c:pt>
                <c:pt idx="551">
                  <c:v>42083</c:v>
                </c:pt>
                <c:pt idx="552">
                  <c:v>42086</c:v>
                </c:pt>
                <c:pt idx="553">
                  <c:v>42087</c:v>
                </c:pt>
                <c:pt idx="554">
                  <c:v>42088</c:v>
                </c:pt>
                <c:pt idx="555">
                  <c:v>42089</c:v>
                </c:pt>
                <c:pt idx="556">
                  <c:v>42090</c:v>
                </c:pt>
                <c:pt idx="557">
                  <c:v>42093</c:v>
                </c:pt>
                <c:pt idx="558">
                  <c:v>42094</c:v>
                </c:pt>
                <c:pt idx="559">
                  <c:v>42095</c:v>
                </c:pt>
                <c:pt idx="560">
                  <c:v>42096</c:v>
                </c:pt>
                <c:pt idx="561">
                  <c:v>42097</c:v>
                </c:pt>
                <c:pt idx="562">
                  <c:v>42100</c:v>
                </c:pt>
                <c:pt idx="563">
                  <c:v>42101</c:v>
                </c:pt>
                <c:pt idx="564">
                  <c:v>42102</c:v>
                </c:pt>
                <c:pt idx="565">
                  <c:v>42103</c:v>
                </c:pt>
                <c:pt idx="566">
                  <c:v>42104</c:v>
                </c:pt>
                <c:pt idx="567">
                  <c:v>42107</c:v>
                </c:pt>
                <c:pt idx="568">
                  <c:v>42108</c:v>
                </c:pt>
                <c:pt idx="569">
                  <c:v>42109</c:v>
                </c:pt>
                <c:pt idx="570">
                  <c:v>42110</c:v>
                </c:pt>
                <c:pt idx="571">
                  <c:v>42111</c:v>
                </c:pt>
                <c:pt idx="572">
                  <c:v>42114</c:v>
                </c:pt>
                <c:pt idx="573">
                  <c:v>42115</c:v>
                </c:pt>
                <c:pt idx="574">
                  <c:v>42116</c:v>
                </c:pt>
                <c:pt idx="575">
                  <c:v>42117</c:v>
                </c:pt>
                <c:pt idx="576">
                  <c:v>42118</c:v>
                </c:pt>
                <c:pt idx="577">
                  <c:v>42121</c:v>
                </c:pt>
                <c:pt idx="578">
                  <c:v>42122</c:v>
                </c:pt>
                <c:pt idx="579">
                  <c:v>42123</c:v>
                </c:pt>
                <c:pt idx="580">
                  <c:v>42124</c:v>
                </c:pt>
                <c:pt idx="581">
                  <c:v>42129</c:v>
                </c:pt>
                <c:pt idx="582">
                  <c:v>42130</c:v>
                </c:pt>
                <c:pt idx="583">
                  <c:v>42131</c:v>
                </c:pt>
                <c:pt idx="584">
                  <c:v>42132</c:v>
                </c:pt>
                <c:pt idx="585">
                  <c:v>42136</c:v>
                </c:pt>
                <c:pt idx="586">
                  <c:v>42137</c:v>
                </c:pt>
                <c:pt idx="587">
                  <c:v>42138</c:v>
                </c:pt>
                <c:pt idx="588">
                  <c:v>42139</c:v>
                </c:pt>
                <c:pt idx="589">
                  <c:v>42142</c:v>
                </c:pt>
                <c:pt idx="590">
                  <c:v>42143</c:v>
                </c:pt>
                <c:pt idx="591">
                  <c:v>42144</c:v>
                </c:pt>
                <c:pt idx="592">
                  <c:v>42145</c:v>
                </c:pt>
                <c:pt idx="593">
                  <c:v>42146</c:v>
                </c:pt>
                <c:pt idx="594">
                  <c:v>42149</c:v>
                </c:pt>
                <c:pt idx="595">
                  <c:v>42150</c:v>
                </c:pt>
                <c:pt idx="596">
                  <c:v>42151</c:v>
                </c:pt>
                <c:pt idx="597">
                  <c:v>42152</c:v>
                </c:pt>
                <c:pt idx="598">
                  <c:v>42153</c:v>
                </c:pt>
                <c:pt idx="599">
                  <c:v>42156</c:v>
                </c:pt>
                <c:pt idx="600">
                  <c:v>42157</c:v>
                </c:pt>
                <c:pt idx="601">
                  <c:v>42158</c:v>
                </c:pt>
                <c:pt idx="602">
                  <c:v>42159</c:v>
                </c:pt>
                <c:pt idx="603">
                  <c:v>42160</c:v>
                </c:pt>
                <c:pt idx="604">
                  <c:v>42163</c:v>
                </c:pt>
                <c:pt idx="605">
                  <c:v>42164</c:v>
                </c:pt>
                <c:pt idx="606">
                  <c:v>42165</c:v>
                </c:pt>
                <c:pt idx="607">
                  <c:v>42166</c:v>
                </c:pt>
                <c:pt idx="608">
                  <c:v>42170</c:v>
                </c:pt>
                <c:pt idx="609">
                  <c:v>42171</c:v>
                </c:pt>
                <c:pt idx="610">
                  <c:v>42172</c:v>
                </c:pt>
                <c:pt idx="611">
                  <c:v>42173</c:v>
                </c:pt>
                <c:pt idx="612">
                  <c:v>42174</c:v>
                </c:pt>
                <c:pt idx="613">
                  <c:v>42177</c:v>
                </c:pt>
                <c:pt idx="614">
                  <c:v>42178</c:v>
                </c:pt>
                <c:pt idx="615">
                  <c:v>42179</c:v>
                </c:pt>
                <c:pt idx="616">
                  <c:v>42180</c:v>
                </c:pt>
                <c:pt idx="617">
                  <c:v>42181</c:v>
                </c:pt>
                <c:pt idx="618">
                  <c:v>42184</c:v>
                </c:pt>
                <c:pt idx="619">
                  <c:v>42185</c:v>
                </c:pt>
                <c:pt idx="620">
                  <c:v>42186</c:v>
                </c:pt>
                <c:pt idx="621">
                  <c:v>42187</c:v>
                </c:pt>
                <c:pt idx="622">
                  <c:v>42188</c:v>
                </c:pt>
                <c:pt idx="623">
                  <c:v>42191</c:v>
                </c:pt>
                <c:pt idx="624">
                  <c:v>42192</c:v>
                </c:pt>
                <c:pt idx="625">
                  <c:v>42193</c:v>
                </c:pt>
                <c:pt idx="626">
                  <c:v>42194</c:v>
                </c:pt>
                <c:pt idx="627">
                  <c:v>42195</c:v>
                </c:pt>
                <c:pt idx="628">
                  <c:v>42198</c:v>
                </c:pt>
                <c:pt idx="629">
                  <c:v>42199</c:v>
                </c:pt>
                <c:pt idx="630">
                  <c:v>42200</c:v>
                </c:pt>
                <c:pt idx="631">
                  <c:v>42201</c:v>
                </c:pt>
                <c:pt idx="632">
                  <c:v>42202</c:v>
                </c:pt>
                <c:pt idx="633">
                  <c:v>42205</c:v>
                </c:pt>
                <c:pt idx="634">
                  <c:v>42206</c:v>
                </c:pt>
                <c:pt idx="635">
                  <c:v>42207</c:v>
                </c:pt>
                <c:pt idx="636">
                  <c:v>42208</c:v>
                </c:pt>
                <c:pt idx="637">
                  <c:v>42209</c:v>
                </c:pt>
                <c:pt idx="638">
                  <c:v>42212</c:v>
                </c:pt>
                <c:pt idx="639">
                  <c:v>42213</c:v>
                </c:pt>
                <c:pt idx="640">
                  <c:v>42214</c:v>
                </c:pt>
                <c:pt idx="641">
                  <c:v>42215</c:v>
                </c:pt>
                <c:pt idx="642">
                  <c:v>42216</c:v>
                </c:pt>
                <c:pt idx="643">
                  <c:v>42219</c:v>
                </c:pt>
                <c:pt idx="644">
                  <c:v>42220</c:v>
                </c:pt>
                <c:pt idx="645">
                  <c:v>42221</c:v>
                </c:pt>
                <c:pt idx="646">
                  <c:v>42222</c:v>
                </c:pt>
                <c:pt idx="647">
                  <c:v>42223</c:v>
                </c:pt>
                <c:pt idx="648">
                  <c:v>42226</c:v>
                </c:pt>
                <c:pt idx="649">
                  <c:v>42227</c:v>
                </c:pt>
                <c:pt idx="650">
                  <c:v>42228</c:v>
                </c:pt>
                <c:pt idx="651">
                  <c:v>42229</c:v>
                </c:pt>
                <c:pt idx="652">
                  <c:v>42230</c:v>
                </c:pt>
                <c:pt idx="653">
                  <c:v>42233</c:v>
                </c:pt>
                <c:pt idx="654">
                  <c:v>42234</c:v>
                </c:pt>
                <c:pt idx="655">
                  <c:v>42235</c:v>
                </c:pt>
                <c:pt idx="656">
                  <c:v>42236</c:v>
                </c:pt>
                <c:pt idx="657">
                  <c:v>42237</c:v>
                </c:pt>
                <c:pt idx="658">
                  <c:v>42240</c:v>
                </c:pt>
                <c:pt idx="659">
                  <c:v>42241</c:v>
                </c:pt>
                <c:pt idx="660">
                  <c:v>42242</c:v>
                </c:pt>
                <c:pt idx="661">
                  <c:v>42243</c:v>
                </c:pt>
                <c:pt idx="662">
                  <c:v>42244</c:v>
                </c:pt>
                <c:pt idx="663">
                  <c:v>42247</c:v>
                </c:pt>
                <c:pt idx="664">
                  <c:v>42248</c:v>
                </c:pt>
                <c:pt idx="665">
                  <c:v>42249</c:v>
                </c:pt>
                <c:pt idx="666">
                  <c:v>42250</c:v>
                </c:pt>
                <c:pt idx="667">
                  <c:v>42251</c:v>
                </c:pt>
                <c:pt idx="668">
                  <c:v>42254</c:v>
                </c:pt>
                <c:pt idx="669">
                  <c:v>42255</c:v>
                </c:pt>
                <c:pt idx="670">
                  <c:v>42256</c:v>
                </c:pt>
                <c:pt idx="671">
                  <c:v>42257</c:v>
                </c:pt>
                <c:pt idx="672">
                  <c:v>42258</c:v>
                </c:pt>
                <c:pt idx="673">
                  <c:v>42261</c:v>
                </c:pt>
                <c:pt idx="674">
                  <c:v>42262</c:v>
                </c:pt>
                <c:pt idx="675">
                  <c:v>42263</c:v>
                </c:pt>
                <c:pt idx="676">
                  <c:v>42264</c:v>
                </c:pt>
                <c:pt idx="677">
                  <c:v>42265</c:v>
                </c:pt>
                <c:pt idx="678">
                  <c:v>42268</c:v>
                </c:pt>
                <c:pt idx="679">
                  <c:v>42269</c:v>
                </c:pt>
                <c:pt idx="680">
                  <c:v>42270</c:v>
                </c:pt>
                <c:pt idx="681">
                  <c:v>42271</c:v>
                </c:pt>
                <c:pt idx="682">
                  <c:v>42272</c:v>
                </c:pt>
                <c:pt idx="683">
                  <c:v>42275</c:v>
                </c:pt>
                <c:pt idx="684">
                  <c:v>42276</c:v>
                </c:pt>
                <c:pt idx="685">
                  <c:v>42277</c:v>
                </c:pt>
                <c:pt idx="686">
                  <c:v>42278</c:v>
                </c:pt>
                <c:pt idx="687">
                  <c:v>42279</c:v>
                </c:pt>
                <c:pt idx="688">
                  <c:v>42282</c:v>
                </c:pt>
                <c:pt idx="689">
                  <c:v>42283</c:v>
                </c:pt>
                <c:pt idx="690">
                  <c:v>42284</c:v>
                </c:pt>
                <c:pt idx="691">
                  <c:v>42285</c:v>
                </c:pt>
                <c:pt idx="692">
                  <c:v>42286</c:v>
                </c:pt>
                <c:pt idx="693">
                  <c:v>42289</c:v>
                </c:pt>
                <c:pt idx="694">
                  <c:v>42290</c:v>
                </c:pt>
                <c:pt idx="695">
                  <c:v>42291</c:v>
                </c:pt>
                <c:pt idx="696">
                  <c:v>42292</c:v>
                </c:pt>
                <c:pt idx="697">
                  <c:v>42293</c:v>
                </c:pt>
                <c:pt idx="698">
                  <c:v>42296</c:v>
                </c:pt>
                <c:pt idx="699">
                  <c:v>42297</c:v>
                </c:pt>
                <c:pt idx="700">
                  <c:v>42298</c:v>
                </c:pt>
                <c:pt idx="701">
                  <c:v>42299</c:v>
                </c:pt>
                <c:pt idx="702">
                  <c:v>42300</c:v>
                </c:pt>
                <c:pt idx="703">
                  <c:v>42303</c:v>
                </c:pt>
                <c:pt idx="704">
                  <c:v>42304</c:v>
                </c:pt>
                <c:pt idx="705">
                  <c:v>42305</c:v>
                </c:pt>
                <c:pt idx="706">
                  <c:v>42306</c:v>
                </c:pt>
                <c:pt idx="707">
                  <c:v>42307</c:v>
                </c:pt>
                <c:pt idx="708">
                  <c:v>42310</c:v>
                </c:pt>
                <c:pt idx="709">
                  <c:v>42311</c:v>
                </c:pt>
                <c:pt idx="710">
                  <c:v>42313</c:v>
                </c:pt>
                <c:pt idx="711">
                  <c:v>42314</c:v>
                </c:pt>
                <c:pt idx="712">
                  <c:v>42317</c:v>
                </c:pt>
                <c:pt idx="713">
                  <c:v>42318</c:v>
                </c:pt>
                <c:pt idx="714">
                  <c:v>42319</c:v>
                </c:pt>
                <c:pt idx="715">
                  <c:v>42320</c:v>
                </c:pt>
                <c:pt idx="716">
                  <c:v>42321</c:v>
                </c:pt>
                <c:pt idx="717">
                  <c:v>42324</c:v>
                </c:pt>
                <c:pt idx="718">
                  <c:v>42325</c:v>
                </c:pt>
                <c:pt idx="719">
                  <c:v>42326</c:v>
                </c:pt>
                <c:pt idx="720">
                  <c:v>42327</c:v>
                </c:pt>
                <c:pt idx="721">
                  <c:v>42328</c:v>
                </c:pt>
                <c:pt idx="722">
                  <c:v>42331</c:v>
                </c:pt>
                <c:pt idx="723">
                  <c:v>42332</c:v>
                </c:pt>
                <c:pt idx="724">
                  <c:v>42333</c:v>
                </c:pt>
                <c:pt idx="725">
                  <c:v>42334</c:v>
                </c:pt>
                <c:pt idx="726">
                  <c:v>42335</c:v>
                </c:pt>
                <c:pt idx="727">
                  <c:v>42338</c:v>
                </c:pt>
                <c:pt idx="728">
                  <c:v>42339</c:v>
                </c:pt>
                <c:pt idx="729">
                  <c:v>42340</c:v>
                </c:pt>
                <c:pt idx="730">
                  <c:v>42341</c:v>
                </c:pt>
                <c:pt idx="731">
                  <c:v>42342</c:v>
                </c:pt>
                <c:pt idx="732">
                  <c:v>42345</c:v>
                </c:pt>
                <c:pt idx="733">
                  <c:v>42346</c:v>
                </c:pt>
                <c:pt idx="734">
                  <c:v>42347</c:v>
                </c:pt>
                <c:pt idx="735">
                  <c:v>42348</c:v>
                </c:pt>
                <c:pt idx="736">
                  <c:v>42349</c:v>
                </c:pt>
                <c:pt idx="737">
                  <c:v>42352</c:v>
                </c:pt>
                <c:pt idx="738">
                  <c:v>42353</c:v>
                </c:pt>
                <c:pt idx="739">
                  <c:v>42354</c:v>
                </c:pt>
                <c:pt idx="740">
                  <c:v>42355</c:v>
                </c:pt>
                <c:pt idx="741">
                  <c:v>42356</c:v>
                </c:pt>
                <c:pt idx="742">
                  <c:v>42359</c:v>
                </c:pt>
                <c:pt idx="743">
                  <c:v>42360</c:v>
                </c:pt>
                <c:pt idx="744">
                  <c:v>42361</c:v>
                </c:pt>
                <c:pt idx="745">
                  <c:v>42362</c:v>
                </c:pt>
                <c:pt idx="746">
                  <c:v>42363</c:v>
                </c:pt>
                <c:pt idx="747">
                  <c:v>42366</c:v>
                </c:pt>
                <c:pt idx="748">
                  <c:v>42367</c:v>
                </c:pt>
                <c:pt idx="749">
                  <c:v>42368</c:v>
                </c:pt>
                <c:pt idx="750">
                  <c:v>42373</c:v>
                </c:pt>
                <c:pt idx="751">
                  <c:v>42374</c:v>
                </c:pt>
                <c:pt idx="752">
                  <c:v>42375</c:v>
                </c:pt>
                <c:pt idx="753">
                  <c:v>42380</c:v>
                </c:pt>
                <c:pt idx="754">
                  <c:v>42381</c:v>
                </c:pt>
                <c:pt idx="755">
                  <c:v>42382</c:v>
                </c:pt>
                <c:pt idx="756">
                  <c:v>42383</c:v>
                </c:pt>
                <c:pt idx="757">
                  <c:v>42384</c:v>
                </c:pt>
                <c:pt idx="758">
                  <c:v>42387</c:v>
                </c:pt>
                <c:pt idx="759">
                  <c:v>42388</c:v>
                </c:pt>
                <c:pt idx="760">
                  <c:v>42389</c:v>
                </c:pt>
                <c:pt idx="761">
                  <c:v>42390</c:v>
                </c:pt>
                <c:pt idx="762">
                  <c:v>42391</c:v>
                </c:pt>
                <c:pt idx="763">
                  <c:v>42394</c:v>
                </c:pt>
                <c:pt idx="764">
                  <c:v>42395</c:v>
                </c:pt>
                <c:pt idx="765">
                  <c:v>42396</c:v>
                </c:pt>
                <c:pt idx="766">
                  <c:v>42397</c:v>
                </c:pt>
                <c:pt idx="767">
                  <c:v>42398</c:v>
                </c:pt>
                <c:pt idx="768">
                  <c:v>42401</c:v>
                </c:pt>
                <c:pt idx="769">
                  <c:v>42402</c:v>
                </c:pt>
                <c:pt idx="770">
                  <c:v>42403</c:v>
                </c:pt>
                <c:pt idx="771">
                  <c:v>42404</c:v>
                </c:pt>
                <c:pt idx="772">
                  <c:v>42405</c:v>
                </c:pt>
                <c:pt idx="773">
                  <c:v>42408</c:v>
                </c:pt>
                <c:pt idx="774">
                  <c:v>42409</c:v>
                </c:pt>
                <c:pt idx="775">
                  <c:v>42410</c:v>
                </c:pt>
                <c:pt idx="776">
                  <c:v>42411</c:v>
                </c:pt>
                <c:pt idx="777">
                  <c:v>42412</c:v>
                </c:pt>
                <c:pt idx="778">
                  <c:v>42415</c:v>
                </c:pt>
                <c:pt idx="779">
                  <c:v>42416</c:v>
                </c:pt>
                <c:pt idx="780">
                  <c:v>42417</c:v>
                </c:pt>
                <c:pt idx="781">
                  <c:v>42418</c:v>
                </c:pt>
                <c:pt idx="782">
                  <c:v>42419</c:v>
                </c:pt>
                <c:pt idx="783">
                  <c:v>42420</c:v>
                </c:pt>
                <c:pt idx="784">
                  <c:v>42422</c:v>
                </c:pt>
                <c:pt idx="785">
                  <c:v>42424</c:v>
                </c:pt>
                <c:pt idx="786">
                  <c:v>42425</c:v>
                </c:pt>
                <c:pt idx="787">
                  <c:v>42426</c:v>
                </c:pt>
                <c:pt idx="788">
                  <c:v>42429</c:v>
                </c:pt>
                <c:pt idx="789">
                  <c:v>42430</c:v>
                </c:pt>
                <c:pt idx="790">
                  <c:v>42431</c:v>
                </c:pt>
                <c:pt idx="791">
                  <c:v>42432</c:v>
                </c:pt>
                <c:pt idx="792">
                  <c:v>42433</c:v>
                </c:pt>
                <c:pt idx="793">
                  <c:v>42436</c:v>
                </c:pt>
                <c:pt idx="794">
                  <c:v>42438</c:v>
                </c:pt>
                <c:pt idx="795">
                  <c:v>42439</c:v>
                </c:pt>
                <c:pt idx="796">
                  <c:v>42440</c:v>
                </c:pt>
                <c:pt idx="797">
                  <c:v>42443</c:v>
                </c:pt>
                <c:pt idx="798">
                  <c:v>42444</c:v>
                </c:pt>
                <c:pt idx="799">
                  <c:v>42445</c:v>
                </c:pt>
                <c:pt idx="800">
                  <c:v>42446</c:v>
                </c:pt>
                <c:pt idx="801">
                  <c:v>42447</c:v>
                </c:pt>
                <c:pt idx="802">
                  <c:v>42450</c:v>
                </c:pt>
                <c:pt idx="803">
                  <c:v>42451</c:v>
                </c:pt>
                <c:pt idx="804">
                  <c:v>42452</c:v>
                </c:pt>
                <c:pt idx="805">
                  <c:v>42453</c:v>
                </c:pt>
                <c:pt idx="806">
                  <c:v>42454</c:v>
                </c:pt>
                <c:pt idx="807">
                  <c:v>42457</c:v>
                </c:pt>
                <c:pt idx="808">
                  <c:v>42458</c:v>
                </c:pt>
                <c:pt idx="809">
                  <c:v>42459</c:v>
                </c:pt>
                <c:pt idx="810">
                  <c:v>42460</c:v>
                </c:pt>
                <c:pt idx="811">
                  <c:v>42461</c:v>
                </c:pt>
                <c:pt idx="812">
                  <c:v>42464</c:v>
                </c:pt>
                <c:pt idx="813">
                  <c:v>42465</c:v>
                </c:pt>
                <c:pt idx="814">
                  <c:v>42466</c:v>
                </c:pt>
                <c:pt idx="815">
                  <c:v>42467</c:v>
                </c:pt>
                <c:pt idx="816">
                  <c:v>42468</c:v>
                </c:pt>
                <c:pt idx="817">
                  <c:v>42471</c:v>
                </c:pt>
                <c:pt idx="818">
                  <c:v>42472</c:v>
                </c:pt>
                <c:pt idx="819">
                  <c:v>42473</c:v>
                </c:pt>
                <c:pt idx="820">
                  <c:v>42474</c:v>
                </c:pt>
                <c:pt idx="821">
                  <c:v>42475</c:v>
                </c:pt>
                <c:pt idx="822">
                  <c:v>42478</c:v>
                </c:pt>
                <c:pt idx="823">
                  <c:v>42479</c:v>
                </c:pt>
                <c:pt idx="824">
                  <c:v>42480</c:v>
                </c:pt>
                <c:pt idx="825">
                  <c:v>42481</c:v>
                </c:pt>
                <c:pt idx="826">
                  <c:v>42482</c:v>
                </c:pt>
                <c:pt idx="827">
                  <c:v>42485</c:v>
                </c:pt>
                <c:pt idx="828">
                  <c:v>42486</c:v>
                </c:pt>
                <c:pt idx="829">
                  <c:v>42487</c:v>
                </c:pt>
                <c:pt idx="830">
                  <c:v>42488</c:v>
                </c:pt>
                <c:pt idx="831">
                  <c:v>42489</c:v>
                </c:pt>
                <c:pt idx="832">
                  <c:v>42494</c:v>
                </c:pt>
                <c:pt idx="833">
                  <c:v>42495</c:v>
                </c:pt>
                <c:pt idx="834">
                  <c:v>42496</c:v>
                </c:pt>
                <c:pt idx="835">
                  <c:v>42500</c:v>
                </c:pt>
                <c:pt idx="836">
                  <c:v>42501</c:v>
                </c:pt>
                <c:pt idx="837">
                  <c:v>42502</c:v>
                </c:pt>
                <c:pt idx="838">
                  <c:v>42503</c:v>
                </c:pt>
                <c:pt idx="839">
                  <c:v>42506</c:v>
                </c:pt>
                <c:pt idx="840">
                  <c:v>42507</c:v>
                </c:pt>
                <c:pt idx="841">
                  <c:v>42508</c:v>
                </c:pt>
                <c:pt idx="842">
                  <c:v>42509</c:v>
                </c:pt>
                <c:pt idx="843">
                  <c:v>42510</c:v>
                </c:pt>
                <c:pt idx="844">
                  <c:v>42513</c:v>
                </c:pt>
                <c:pt idx="845">
                  <c:v>42514</c:v>
                </c:pt>
                <c:pt idx="846">
                  <c:v>42515</c:v>
                </c:pt>
                <c:pt idx="847">
                  <c:v>42516</c:v>
                </c:pt>
                <c:pt idx="848">
                  <c:v>42517</c:v>
                </c:pt>
                <c:pt idx="849">
                  <c:v>42520</c:v>
                </c:pt>
                <c:pt idx="850">
                  <c:v>42521</c:v>
                </c:pt>
                <c:pt idx="851">
                  <c:v>42522</c:v>
                </c:pt>
                <c:pt idx="852">
                  <c:v>42523</c:v>
                </c:pt>
                <c:pt idx="853">
                  <c:v>42524</c:v>
                </c:pt>
                <c:pt idx="854">
                  <c:v>42527</c:v>
                </c:pt>
                <c:pt idx="855">
                  <c:v>42528</c:v>
                </c:pt>
                <c:pt idx="856">
                  <c:v>42529</c:v>
                </c:pt>
                <c:pt idx="857">
                  <c:v>42530</c:v>
                </c:pt>
                <c:pt idx="858">
                  <c:v>42531</c:v>
                </c:pt>
                <c:pt idx="859">
                  <c:v>42535</c:v>
                </c:pt>
                <c:pt idx="860">
                  <c:v>42536</c:v>
                </c:pt>
                <c:pt idx="861">
                  <c:v>42537</c:v>
                </c:pt>
                <c:pt idx="862">
                  <c:v>42538</c:v>
                </c:pt>
                <c:pt idx="863">
                  <c:v>42541</c:v>
                </c:pt>
                <c:pt idx="864">
                  <c:v>42542</c:v>
                </c:pt>
                <c:pt idx="865">
                  <c:v>42543</c:v>
                </c:pt>
                <c:pt idx="866">
                  <c:v>42544</c:v>
                </c:pt>
                <c:pt idx="867">
                  <c:v>42545</c:v>
                </c:pt>
                <c:pt idx="868">
                  <c:v>42548</c:v>
                </c:pt>
                <c:pt idx="869">
                  <c:v>42549</c:v>
                </c:pt>
                <c:pt idx="870">
                  <c:v>42550</c:v>
                </c:pt>
                <c:pt idx="871">
                  <c:v>42551</c:v>
                </c:pt>
                <c:pt idx="872">
                  <c:v>42552</c:v>
                </c:pt>
                <c:pt idx="873">
                  <c:v>42555</c:v>
                </c:pt>
                <c:pt idx="874">
                  <c:v>42556</c:v>
                </c:pt>
                <c:pt idx="875">
                  <c:v>42557</c:v>
                </c:pt>
                <c:pt idx="876">
                  <c:v>42558</c:v>
                </c:pt>
                <c:pt idx="877">
                  <c:v>42559</c:v>
                </c:pt>
                <c:pt idx="878">
                  <c:v>42562</c:v>
                </c:pt>
                <c:pt idx="879">
                  <c:v>42563</c:v>
                </c:pt>
                <c:pt idx="880">
                  <c:v>42564</c:v>
                </c:pt>
                <c:pt idx="881">
                  <c:v>42565</c:v>
                </c:pt>
                <c:pt idx="882">
                  <c:v>42566</c:v>
                </c:pt>
                <c:pt idx="883">
                  <c:v>42569</c:v>
                </c:pt>
                <c:pt idx="884">
                  <c:v>42570</c:v>
                </c:pt>
                <c:pt idx="885">
                  <c:v>42571</c:v>
                </c:pt>
                <c:pt idx="886">
                  <c:v>42572</c:v>
                </c:pt>
                <c:pt idx="887">
                  <c:v>42573</c:v>
                </c:pt>
                <c:pt idx="888">
                  <c:v>42576</c:v>
                </c:pt>
                <c:pt idx="889">
                  <c:v>42577</c:v>
                </c:pt>
                <c:pt idx="890">
                  <c:v>42578</c:v>
                </c:pt>
                <c:pt idx="891">
                  <c:v>42579</c:v>
                </c:pt>
                <c:pt idx="892">
                  <c:v>42580</c:v>
                </c:pt>
                <c:pt idx="893">
                  <c:v>42583</c:v>
                </c:pt>
                <c:pt idx="894">
                  <c:v>42584</c:v>
                </c:pt>
                <c:pt idx="895">
                  <c:v>42585</c:v>
                </c:pt>
                <c:pt idx="896">
                  <c:v>42586</c:v>
                </c:pt>
                <c:pt idx="897">
                  <c:v>42587</c:v>
                </c:pt>
                <c:pt idx="898">
                  <c:v>42590</c:v>
                </c:pt>
                <c:pt idx="899">
                  <c:v>42591</c:v>
                </c:pt>
                <c:pt idx="900">
                  <c:v>42592</c:v>
                </c:pt>
                <c:pt idx="901">
                  <c:v>42593</c:v>
                </c:pt>
                <c:pt idx="902">
                  <c:v>42594</c:v>
                </c:pt>
                <c:pt idx="903">
                  <c:v>42597</c:v>
                </c:pt>
                <c:pt idx="904">
                  <c:v>42598</c:v>
                </c:pt>
                <c:pt idx="905">
                  <c:v>42599</c:v>
                </c:pt>
                <c:pt idx="906">
                  <c:v>42600</c:v>
                </c:pt>
                <c:pt idx="907">
                  <c:v>42601</c:v>
                </c:pt>
                <c:pt idx="908">
                  <c:v>42604</c:v>
                </c:pt>
                <c:pt idx="909">
                  <c:v>42605</c:v>
                </c:pt>
                <c:pt idx="910">
                  <c:v>42606</c:v>
                </c:pt>
                <c:pt idx="911">
                  <c:v>42607</c:v>
                </c:pt>
                <c:pt idx="912">
                  <c:v>42608</c:v>
                </c:pt>
                <c:pt idx="913">
                  <c:v>42611</c:v>
                </c:pt>
                <c:pt idx="914">
                  <c:v>42612</c:v>
                </c:pt>
                <c:pt idx="915">
                  <c:v>42613</c:v>
                </c:pt>
                <c:pt idx="916">
                  <c:v>42614</c:v>
                </c:pt>
                <c:pt idx="917">
                  <c:v>42615</c:v>
                </c:pt>
                <c:pt idx="918">
                  <c:v>42618</c:v>
                </c:pt>
                <c:pt idx="919">
                  <c:v>42619</c:v>
                </c:pt>
                <c:pt idx="920">
                  <c:v>42620</c:v>
                </c:pt>
                <c:pt idx="921">
                  <c:v>42621</c:v>
                </c:pt>
                <c:pt idx="922">
                  <c:v>42622</c:v>
                </c:pt>
                <c:pt idx="923">
                  <c:v>42625</c:v>
                </c:pt>
                <c:pt idx="924">
                  <c:v>42626</c:v>
                </c:pt>
                <c:pt idx="925">
                  <c:v>42627</c:v>
                </c:pt>
                <c:pt idx="926">
                  <c:v>42628</c:v>
                </c:pt>
                <c:pt idx="927">
                  <c:v>42629</c:v>
                </c:pt>
                <c:pt idx="928">
                  <c:v>42632</c:v>
                </c:pt>
                <c:pt idx="929">
                  <c:v>42633</c:v>
                </c:pt>
                <c:pt idx="930">
                  <c:v>42634</c:v>
                </c:pt>
                <c:pt idx="931">
                  <c:v>42635</c:v>
                </c:pt>
                <c:pt idx="932">
                  <c:v>42636</c:v>
                </c:pt>
                <c:pt idx="933">
                  <c:v>42639</c:v>
                </c:pt>
                <c:pt idx="934">
                  <c:v>42640</c:v>
                </c:pt>
                <c:pt idx="935">
                  <c:v>42641</c:v>
                </c:pt>
                <c:pt idx="936">
                  <c:v>42642</c:v>
                </c:pt>
                <c:pt idx="937">
                  <c:v>42643</c:v>
                </c:pt>
                <c:pt idx="938">
                  <c:v>42646</c:v>
                </c:pt>
                <c:pt idx="939">
                  <c:v>42647</c:v>
                </c:pt>
                <c:pt idx="940">
                  <c:v>42648</c:v>
                </c:pt>
                <c:pt idx="941">
                  <c:v>42649</c:v>
                </c:pt>
                <c:pt idx="942">
                  <c:v>42650</c:v>
                </c:pt>
                <c:pt idx="943">
                  <c:v>42653</c:v>
                </c:pt>
                <c:pt idx="944">
                  <c:v>42654</c:v>
                </c:pt>
                <c:pt idx="945">
                  <c:v>42655</c:v>
                </c:pt>
                <c:pt idx="946">
                  <c:v>42656</c:v>
                </c:pt>
                <c:pt idx="947">
                  <c:v>42657</c:v>
                </c:pt>
                <c:pt idx="948">
                  <c:v>42660</c:v>
                </c:pt>
                <c:pt idx="949">
                  <c:v>42661</c:v>
                </c:pt>
                <c:pt idx="950">
                  <c:v>42662</c:v>
                </c:pt>
                <c:pt idx="951">
                  <c:v>42663</c:v>
                </c:pt>
                <c:pt idx="952">
                  <c:v>42664</c:v>
                </c:pt>
                <c:pt idx="953">
                  <c:v>42667</c:v>
                </c:pt>
                <c:pt idx="954">
                  <c:v>42668</c:v>
                </c:pt>
                <c:pt idx="955">
                  <c:v>42669</c:v>
                </c:pt>
                <c:pt idx="956">
                  <c:v>42670</c:v>
                </c:pt>
                <c:pt idx="957">
                  <c:v>42671</c:v>
                </c:pt>
                <c:pt idx="958">
                  <c:v>42674</c:v>
                </c:pt>
                <c:pt idx="959">
                  <c:v>42675</c:v>
                </c:pt>
                <c:pt idx="960">
                  <c:v>42676</c:v>
                </c:pt>
                <c:pt idx="961">
                  <c:v>42677</c:v>
                </c:pt>
                <c:pt idx="962">
                  <c:v>42681</c:v>
                </c:pt>
                <c:pt idx="963">
                  <c:v>42682</c:v>
                </c:pt>
                <c:pt idx="964">
                  <c:v>42683</c:v>
                </c:pt>
                <c:pt idx="965">
                  <c:v>42684</c:v>
                </c:pt>
                <c:pt idx="966">
                  <c:v>42685</c:v>
                </c:pt>
                <c:pt idx="967">
                  <c:v>42688</c:v>
                </c:pt>
                <c:pt idx="968">
                  <c:v>42689</c:v>
                </c:pt>
                <c:pt idx="969">
                  <c:v>42690</c:v>
                </c:pt>
                <c:pt idx="970">
                  <c:v>42691</c:v>
                </c:pt>
                <c:pt idx="971">
                  <c:v>42692</c:v>
                </c:pt>
                <c:pt idx="972">
                  <c:v>42695</c:v>
                </c:pt>
                <c:pt idx="973">
                  <c:v>42696</c:v>
                </c:pt>
                <c:pt idx="974">
                  <c:v>42697</c:v>
                </c:pt>
                <c:pt idx="975">
                  <c:v>42698</c:v>
                </c:pt>
                <c:pt idx="976">
                  <c:v>42699</c:v>
                </c:pt>
                <c:pt idx="977">
                  <c:v>42702</c:v>
                </c:pt>
                <c:pt idx="978">
                  <c:v>42703</c:v>
                </c:pt>
                <c:pt idx="979">
                  <c:v>42704</c:v>
                </c:pt>
                <c:pt idx="980">
                  <c:v>42705</c:v>
                </c:pt>
                <c:pt idx="981">
                  <c:v>42706</c:v>
                </c:pt>
                <c:pt idx="982">
                  <c:v>42709</c:v>
                </c:pt>
                <c:pt idx="983">
                  <c:v>42710</c:v>
                </c:pt>
                <c:pt idx="984">
                  <c:v>42711</c:v>
                </c:pt>
                <c:pt idx="985">
                  <c:v>42712</c:v>
                </c:pt>
                <c:pt idx="986">
                  <c:v>42713</c:v>
                </c:pt>
                <c:pt idx="987">
                  <c:v>42716</c:v>
                </c:pt>
                <c:pt idx="988">
                  <c:v>42717</c:v>
                </c:pt>
                <c:pt idx="989">
                  <c:v>42718</c:v>
                </c:pt>
                <c:pt idx="990">
                  <c:v>42719</c:v>
                </c:pt>
                <c:pt idx="991">
                  <c:v>42720</c:v>
                </c:pt>
                <c:pt idx="992">
                  <c:v>42723</c:v>
                </c:pt>
                <c:pt idx="993">
                  <c:v>42724</c:v>
                </c:pt>
                <c:pt idx="994">
                  <c:v>42725</c:v>
                </c:pt>
                <c:pt idx="995">
                  <c:v>42726</c:v>
                </c:pt>
                <c:pt idx="996">
                  <c:v>42727</c:v>
                </c:pt>
                <c:pt idx="997">
                  <c:v>42730</c:v>
                </c:pt>
                <c:pt idx="998">
                  <c:v>42731</c:v>
                </c:pt>
                <c:pt idx="999">
                  <c:v>42732</c:v>
                </c:pt>
                <c:pt idx="1000">
                  <c:v>42733</c:v>
                </c:pt>
                <c:pt idx="1001">
                  <c:v>42734</c:v>
                </c:pt>
                <c:pt idx="1002">
                  <c:v>42738</c:v>
                </c:pt>
                <c:pt idx="1003">
                  <c:v>42739</c:v>
                </c:pt>
                <c:pt idx="1004">
                  <c:v>42740</c:v>
                </c:pt>
                <c:pt idx="1005">
                  <c:v>42741</c:v>
                </c:pt>
                <c:pt idx="1006">
                  <c:v>42744</c:v>
                </c:pt>
                <c:pt idx="1007">
                  <c:v>42745</c:v>
                </c:pt>
                <c:pt idx="1008">
                  <c:v>42746</c:v>
                </c:pt>
                <c:pt idx="1009">
                  <c:v>42747</c:v>
                </c:pt>
                <c:pt idx="1010">
                  <c:v>42748</c:v>
                </c:pt>
                <c:pt idx="1011">
                  <c:v>42751</c:v>
                </c:pt>
                <c:pt idx="1012">
                  <c:v>42752</c:v>
                </c:pt>
                <c:pt idx="1013">
                  <c:v>42753</c:v>
                </c:pt>
                <c:pt idx="1014">
                  <c:v>42754</c:v>
                </c:pt>
                <c:pt idx="1015">
                  <c:v>42755</c:v>
                </c:pt>
                <c:pt idx="1016">
                  <c:v>42758</c:v>
                </c:pt>
                <c:pt idx="1017">
                  <c:v>42759</c:v>
                </c:pt>
                <c:pt idx="1018">
                  <c:v>42760</c:v>
                </c:pt>
                <c:pt idx="1019">
                  <c:v>42761</c:v>
                </c:pt>
                <c:pt idx="1020">
                  <c:v>42762</c:v>
                </c:pt>
                <c:pt idx="1021">
                  <c:v>42765</c:v>
                </c:pt>
                <c:pt idx="1022">
                  <c:v>42766</c:v>
                </c:pt>
                <c:pt idx="1023">
                  <c:v>42767</c:v>
                </c:pt>
                <c:pt idx="1024">
                  <c:v>42768</c:v>
                </c:pt>
                <c:pt idx="1025">
                  <c:v>42769</c:v>
                </c:pt>
                <c:pt idx="1026">
                  <c:v>42772</c:v>
                </c:pt>
                <c:pt idx="1027">
                  <c:v>42773</c:v>
                </c:pt>
                <c:pt idx="1028">
                  <c:v>42774</c:v>
                </c:pt>
                <c:pt idx="1029">
                  <c:v>42775</c:v>
                </c:pt>
                <c:pt idx="1030">
                  <c:v>42776</c:v>
                </c:pt>
                <c:pt idx="1031">
                  <c:v>42779</c:v>
                </c:pt>
                <c:pt idx="1032">
                  <c:v>42780</c:v>
                </c:pt>
                <c:pt idx="1033">
                  <c:v>42781</c:v>
                </c:pt>
                <c:pt idx="1034">
                  <c:v>42782</c:v>
                </c:pt>
                <c:pt idx="1035">
                  <c:v>42783</c:v>
                </c:pt>
                <c:pt idx="1036">
                  <c:v>42786</c:v>
                </c:pt>
                <c:pt idx="1037">
                  <c:v>42787</c:v>
                </c:pt>
                <c:pt idx="1038">
                  <c:v>42788</c:v>
                </c:pt>
                <c:pt idx="1039">
                  <c:v>42790</c:v>
                </c:pt>
                <c:pt idx="1040">
                  <c:v>42793</c:v>
                </c:pt>
                <c:pt idx="1041">
                  <c:v>42794</c:v>
                </c:pt>
                <c:pt idx="1042">
                  <c:v>42795</c:v>
                </c:pt>
                <c:pt idx="1043">
                  <c:v>42796</c:v>
                </c:pt>
                <c:pt idx="1044">
                  <c:v>42797</c:v>
                </c:pt>
                <c:pt idx="1045">
                  <c:v>42800</c:v>
                </c:pt>
                <c:pt idx="1046">
                  <c:v>42801</c:v>
                </c:pt>
                <c:pt idx="1047">
                  <c:v>42803</c:v>
                </c:pt>
                <c:pt idx="1048">
                  <c:v>42804</c:v>
                </c:pt>
                <c:pt idx="1049">
                  <c:v>42807</c:v>
                </c:pt>
                <c:pt idx="1050">
                  <c:v>42808</c:v>
                </c:pt>
                <c:pt idx="1051">
                  <c:v>42809</c:v>
                </c:pt>
                <c:pt idx="1052">
                  <c:v>42810</c:v>
                </c:pt>
                <c:pt idx="1053">
                  <c:v>42811</c:v>
                </c:pt>
                <c:pt idx="1054">
                  <c:v>42814</c:v>
                </c:pt>
                <c:pt idx="1055">
                  <c:v>42815</c:v>
                </c:pt>
                <c:pt idx="1056">
                  <c:v>42816</c:v>
                </c:pt>
                <c:pt idx="1057">
                  <c:v>42817</c:v>
                </c:pt>
                <c:pt idx="1058">
                  <c:v>42818</c:v>
                </c:pt>
                <c:pt idx="1059">
                  <c:v>42821</c:v>
                </c:pt>
                <c:pt idx="1060">
                  <c:v>42822</c:v>
                </c:pt>
                <c:pt idx="1061">
                  <c:v>42823</c:v>
                </c:pt>
                <c:pt idx="1062">
                  <c:v>42824</c:v>
                </c:pt>
                <c:pt idx="1063">
                  <c:v>42825</c:v>
                </c:pt>
                <c:pt idx="1064">
                  <c:v>42828</c:v>
                </c:pt>
                <c:pt idx="1065">
                  <c:v>42829</c:v>
                </c:pt>
                <c:pt idx="1066">
                  <c:v>42830</c:v>
                </c:pt>
                <c:pt idx="1067">
                  <c:v>42831</c:v>
                </c:pt>
                <c:pt idx="1068">
                  <c:v>42832</c:v>
                </c:pt>
                <c:pt idx="1069">
                  <c:v>42835</c:v>
                </c:pt>
                <c:pt idx="1070">
                  <c:v>42836</c:v>
                </c:pt>
                <c:pt idx="1071">
                  <c:v>42837</c:v>
                </c:pt>
                <c:pt idx="1072">
                  <c:v>42838</c:v>
                </c:pt>
                <c:pt idx="1073">
                  <c:v>42839</c:v>
                </c:pt>
                <c:pt idx="1074">
                  <c:v>42842</c:v>
                </c:pt>
                <c:pt idx="1075">
                  <c:v>42843</c:v>
                </c:pt>
                <c:pt idx="1076">
                  <c:v>42844</c:v>
                </c:pt>
                <c:pt idx="1077">
                  <c:v>42845</c:v>
                </c:pt>
                <c:pt idx="1078">
                  <c:v>42846</c:v>
                </c:pt>
                <c:pt idx="1079">
                  <c:v>42849</c:v>
                </c:pt>
                <c:pt idx="1080">
                  <c:v>42850</c:v>
                </c:pt>
                <c:pt idx="1081">
                  <c:v>42851</c:v>
                </c:pt>
                <c:pt idx="1082">
                  <c:v>42852</c:v>
                </c:pt>
                <c:pt idx="1083">
                  <c:v>42853</c:v>
                </c:pt>
                <c:pt idx="1084">
                  <c:v>42857</c:v>
                </c:pt>
                <c:pt idx="1085">
                  <c:v>42858</c:v>
                </c:pt>
                <c:pt idx="1086">
                  <c:v>42859</c:v>
                </c:pt>
                <c:pt idx="1087">
                  <c:v>42860</c:v>
                </c:pt>
                <c:pt idx="1088">
                  <c:v>42865</c:v>
                </c:pt>
                <c:pt idx="1089">
                  <c:v>42866</c:v>
                </c:pt>
                <c:pt idx="1090">
                  <c:v>42867</c:v>
                </c:pt>
                <c:pt idx="1091">
                  <c:v>42870</c:v>
                </c:pt>
                <c:pt idx="1092">
                  <c:v>42871</c:v>
                </c:pt>
                <c:pt idx="1093">
                  <c:v>42872</c:v>
                </c:pt>
                <c:pt idx="1094">
                  <c:v>42873</c:v>
                </c:pt>
                <c:pt idx="1095">
                  <c:v>42874</c:v>
                </c:pt>
                <c:pt idx="1096">
                  <c:v>42877</c:v>
                </c:pt>
                <c:pt idx="1097">
                  <c:v>42878</c:v>
                </c:pt>
                <c:pt idx="1098">
                  <c:v>42879</c:v>
                </c:pt>
                <c:pt idx="1099">
                  <c:v>42880</c:v>
                </c:pt>
                <c:pt idx="1100">
                  <c:v>42881</c:v>
                </c:pt>
                <c:pt idx="1101">
                  <c:v>42884</c:v>
                </c:pt>
                <c:pt idx="1102">
                  <c:v>42885</c:v>
                </c:pt>
                <c:pt idx="1103">
                  <c:v>42886</c:v>
                </c:pt>
                <c:pt idx="1104">
                  <c:v>42887</c:v>
                </c:pt>
                <c:pt idx="1105">
                  <c:v>42888</c:v>
                </c:pt>
                <c:pt idx="1106">
                  <c:v>42891</c:v>
                </c:pt>
                <c:pt idx="1107">
                  <c:v>42892</c:v>
                </c:pt>
                <c:pt idx="1108">
                  <c:v>42893</c:v>
                </c:pt>
                <c:pt idx="1109">
                  <c:v>42894</c:v>
                </c:pt>
                <c:pt idx="1110">
                  <c:v>42895</c:v>
                </c:pt>
                <c:pt idx="1111">
                  <c:v>42899</c:v>
                </c:pt>
                <c:pt idx="1112">
                  <c:v>42900</c:v>
                </c:pt>
                <c:pt idx="1113">
                  <c:v>42901</c:v>
                </c:pt>
                <c:pt idx="1114">
                  <c:v>42902</c:v>
                </c:pt>
                <c:pt idx="1115">
                  <c:v>42905</c:v>
                </c:pt>
                <c:pt idx="1116">
                  <c:v>42906</c:v>
                </c:pt>
                <c:pt idx="1117">
                  <c:v>42907</c:v>
                </c:pt>
                <c:pt idx="1118">
                  <c:v>42908</c:v>
                </c:pt>
                <c:pt idx="1119">
                  <c:v>42909</c:v>
                </c:pt>
                <c:pt idx="1120">
                  <c:v>42912</c:v>
                </c:pt>
                <c:pt idx="1121">
                  <c:v>42913</c:v>
                </c:pt>
                <c:pt idx="1122">
                  <c:v>42914</c:v>
                </c:pt>
                <c:pt idx="1123">
                  <c:v>42915</c:v>
                </c:pt>
                <c:pt idx="1124">
                  <c:v>42916</c:v>
                </c:pt>
                <c:pt idx="1125">
                  <c:v>42919</c:v>
                </c:pt>
                <c:pt idx="1126">
                  <c:v>42920</c:v>
                </c:pt>
                <c:pt idx="1127">
                  <c:v>42921</c:v>
                </c:pt>
                <c:pt idx="1128">
                  <c:v>42922</c:v>
                </c:pt>
                <c:pt idx="1129">
                  <c:v>42923</c:v>
                </c:pt>
                <c:pt idx="1130">
                  <c:v>42926</c:v>
                </c:pt>
                <c:pt idx="1131">
                  <c:v>42927</c:v>
                </c:pt>
                <c:pt idx="1132">
                  <c:v>42928</c:v>
                </c:pt>
                <c:pt idx="1133">
                  <c:v>42929</c:v>
                </c:pt>
                <c:pt idx="1134">
                  <c:v>42930</c:v>
                </c:pt>
                <c:pt idx="1135">
                  <c:v>42933</c:v>
                </c:pt>
                <c:pt idx="1136">
                  <c:v>42934</c:v>
                </c:pt>
                <c:pt idx="1137">
                  <c:v>42935</c:v>
                </c:pt>
                <c:pt idx="1138">
                  <c:v>42936</c:v>
                </c:pt>
                <c:pt idx="1139">
                  <c:v>42937</c:v>
                </c:pt>
                <c:pt idx="1140">
                  <c:v>42940</c:v>
                </c:pt>
                <c:pt idx="1141">
                  <c:v>42941</c:v>
                </c:pt>
                <c:pt idx="1142">
                  <c:v>42942</c:v>
                </c:pt>
                <c:pt idx="1143">
                  <c:v>42943</c:v>
                </c:pt>
                <c:pt idx="1144">
                  <c:v>42944</c:v>
                </c:pt>
                <c:pt idx="1145">
                  <c:v>42947</c:v>
                </c:pt>
                <c:pt idx="1146">
                  <c:v>42948</c:v>
                </c:pt>
                <c:pt idx="1147">
                  <c:v>42949</c:v>
                </c:pt>
                <c:pt idx="1148">
                  <c:v>42950</c:v>
                </c:pt>
                <c:pt idx="1149">
                  <c:v>42951</c:v>
                </c:pt>
                <c:pt idx="1150">
                  <c:v>42954</c:v>
                </c:pt>
                <c:pt idx="1151">
                  <c:v>42955</c:v>
                </c:pt>
                <c:pt idx="1152">
                  <c:v>42956</c:v>
                </c:pt>
                <c:pt idx="1153">
                  <c:v>42957</c:v>
                </c:pt>
                <c:pt idx="1154">
                  <c:v>42958</c:v>
                </c:pt>
                <c:pt idx="1155">
                  <c:v>42961</c:v>
                </c:pt>
                <c:pt idx="1156">
                  <c:v>42962</c:v>
                </c:pt>
                <c:pt idx="1157">
                  <c:v>42963</c:v>
                </c:pt>
                <c:pt idx="1158">
                  <c:v>42964</c:v>
                </c:pt>
                <c:pt idx="1159">
                  <c:v>42965</c:v>
                </c:pt>
                <c:pt idx="1160">
                  <c:v>42968</c:v>
                </c:pt>
                <c:pt idx="1161">
                  <c:v>42969</c:v>
                </c:pt>
                <c:pt idx="1162">
                  <c:v>42970</c:v>
                </c:pt>
                <c:pt idx="1163">
                  <c:v>42971</c:v>
                </c:pt>
                <c:pt idx="1164">
                  <c:v>42972</c:v>
                </c:pt>
                <c:pt idx="1165">
                  <c:v>42975</c:v>
                </c:pt>
                <c:pt idx="1166">
                  <c:v>42976</c:v>
                </c:pt>
                <c:pt idx="1167">
                  <c:v>42977</c:v>
                </c:pt>
                <c:pt idx="1168">
                  <c:v>42978</c:v>
                </c:pt>
                <c:pt idx="1169">
                  <c:v>42979</c:v>
                </c:pt>
                <c:pt idx="1170">
                  <c:v>42982</c:v>
                </c:pt>
                <c:pt idx="1171">
                  <c:v>42983</c:v>
                </c:pt>
                <c:pt idx="1172">
                  <c:v>42984</c:v>
                </c:pt>
                <c:pt idx="1173">
                  <c:v>42985</c:v>
                </c:pt>
                <c:pt idx="1174">
                  <c:v>42986</c:v>
                </c:pt>
                <c:pt idx="1175">
                  <c:v>42989</c:v>
                </c:pt>
                <c:pt idx="1176">
                  <c:v>42990</c:v>
                </c:pt>
                <c:pt idx="1177">
                  <c:v>42991</c:v>
                </c:pt>
                <c:pt idx="1178">
                  <c:v>42992</c:v>
                </c:pt>
                <c:pt idx="1179">
                  <c:v>42993</c:v>
                </c:pt>
                <c:pt idx="1180">
                  <c:v>42996</c:v>
                </c:pt>
                <c:pt idx="1181">
                  <c:v>42997</c:v>
                </c:pt>
                <c:pt idx="1182">
                  <c:v>42998</c:v>
                </c:pt>
                <c:pt idx="1183">
                  <c:v>42999</c:v>
                </c:pt>
                <c:pt idx="1184">
                  <c:v>43000</c:v>
                </c:pt>
                <c:pt idx="1185">
                  <c:v>43003</c:v>
                </c:pt>
                <c:pt idx="1186">
                  <c:v>43004</c:v>
                </c:pt>
                <c:pt idx="1187">
                  <c:v>43005</c:v>
                </c:pt>
                <c:pt idx="1188">
                  <c:v>43006</c:v>
                </c:pt>
                <c:pt idx="1189">
                  <c:v>43007</c:v>
                </c:pt>
                <c:pt idx="1190">
                  <c:v>43010</c:v>
                </c:pt>
                <c:pt idx="1191">
                  <c:v>43011</c:v>
                </c:pt>
                <c:pt idx="1192">
                  <c:v>43012</c:v>
                </c:pt>
                <c:pt idx="1193">
                  <c:v>43013</c:v>
                </c:pt>
                <c:pt idx="1194">
                  <c:v>43014</c:v>
                </c:pt>
                <c:pt idx="1195">
                  <c:v>43017</c:v>
                </c:pt>
                <c:pt idx="1196">
                  <c:v>43018</c:v>
                </c:pt>
                <c:pt idx="1197">
                  <c:v>43019</c:v>
                </c:pt>
                <c:pt idx="1198">
                  <c:v>43020</c:v>
                </c:pt>
                <c:pt idx="1199">
                  <c:v>43021</c:v>
                </c:pt>
                <c:pt idx="1200">
                  <c:v>43024</c:v>
                </c:pt>
                <c:pt idx="1201">
                  <c:v>43025</c:v>
                </c:pt>
                <c:pt idx="1202">
                  <c:v>43026</c:v>
                </c:pt>
                <c:pt idx="1203">
                  <c:v>43027</c:v>
                </c:pt>
                <c:pt idx="1204">
                  <c:v>43028</c:v>
                </c:pt>
                <c:pt idx="1205">
                  <c:v>43031</c:v>
                </c:pt>
                <c:pt idx="1206">
                  <c:v>43032</c:v>
                </c:pt>
                <c:pt idx="1207">
                  <c:v>43033</c:v>
                </c:pt>
                <c:pt idx="1208">
                  <c:v>43034</c:v>
                </c:pt>
                <c:pt idx="1209">
                  <c:v>43035</c:v>
                </c:pt>
                <c:pt idx="1210">
                  <c:v>43038</c:v>
                </c:pt>
                <c:pt idx="1211">
                  <c:v>43039</c:v>
                </c:pt>
                <c:pt idx="1212">
                  <c:v>43040</c:v>
                </c:pt>
                <c:pt idx="1213">
                  <c:v>43041</c:v>
                </c:pt>
                <c:pt idx="1214">
                  <c:v>43042</c:v>
                </c:pt>
                <c:pt idx="1215">
                  <c:v>43046</c:v>
                </c:pt>
                <c:pt idx="1216">
                  <c:v>43047</c:v>
                </c:pt>
                <c:pt idx="1217">
                  <c:v>43048</c:v>
                </c:pt>
                <c:pt idx="1218">
                  <c:v>43049</c:v>
                </c:pt>
                <c:pt idx="1219">
                  <c:v>43052</c:v>
                </c:pt>
                <c:pt idx="1220">
                  <c:v>43053</c:v>
                </c:pt>
                <c:pt idx="1221">
                  <c:v>43054</c:v>
                </c:pt>
                <c:pt idx="1222">
                  <c:v>43055</c:v>
                </c:pt>
                <c:pt idx="1223">
                  <c:v>43056</c:v>
                </c:pt>
                <c:pt idx="1224">
                  <c:v>43059</c:v>
                </c:pt>
                <c:pt idx="1225">
                  <c:v>43060</c:v>
                </c:pt>
                <c:pt idx="1226">
                  <c:v>43061</c:v>
                </c:pt>
                <c:pt idx="1227">
                  <c:v>43062</c:v>
                </c:pt>
                <c:pt idx="1228">
                  <c:v>43063</c:v>
                </c:pt>
                <c:pt idx="1229">
                  <c:v>43066</c:v>
                </c:pt>
                <c:pt idx="1230">
                  <c:v>43067</c:v>
                </c:pt>
                <c:pt idx="1231">
                  <c:v>43068</c:v>
                </c:pt>
                <c:pt idx="1232">
                  <c:v>43069</c:v>
                </c:pt>
                <c:pt idx="1233">
                  <c:v>43070</c:v>
                </c:pt>
                <c:pt idx="1234">
                  <c:v>43073</c:v>
                </c:pt>
                <c:pt idx="1235">
                  <c:v>43074</c:v>
                </c:pt>
                <c:pt idx="1236">
                  <c:v>43075</c:v>
                </c:pt>
                <c:pt idx="1237">
                  <c:v>43076</c:v>
                </c:pt>
                <c:pt idx="1238">
                  <c:v>43077</c:v>
                </c:pt>
                <c:pt idx="1239">
                  <c:v>43080</c:v>
                </c:pt>
                <c:pt idx="1240">
                  <c:v>43081</c:v>
                </c:pt>
                <c:pt idx="1241">
                  <c:v>43082</c:v>
                </c:pt>
                <c:pt idx="1242">
                  <c:v>43083</c:v>
                </c:pt>
                <c:pt idx="1243">
                  <c:v>43084</c:v>
                </c:pt>
                <c:pt idx="1244">
                  <c:v>43087</c:v>
                </c:pt>
                <c:pt idx="1245">
                  <c:v>43088</c:v>
                </c:pt>
                <c:pt idx="1246">
                  <c:v>43089</c:v>
                </c:pt>
                <c:pt idx="1247">
                  <c:v>43090</c:v>
                </c:pt>
                <c:pt idx="1248">
                  <c:v>43091</c:v>
                </c:pt>
                <c:pt idx="1249">
                  <c:v>43094</c:v>
                </c:pt>
                <c:pt idx="1250">
                  <c:v>43095</c:v>
                </c:pt>
                <c:pt idx="1251">
                  <c:v>43096</c:v>
                </c:pt>
                <c:pt idx="1252">
                  <c:v>43097</c:v>
                </c:pt>
                <c:pt idx="1253">
                  <c:v>43098</c:v>
                </c:pt>
                <c:pt idx="1254">
                  <c:v>43103</c:v>
                </c:pt>
                <c:pt idx="1255">
                  <c:v>43104</c:v>
                </c:pt>
                <c:pt idx="1256">
                  <c:v>43105</c:v>
                </c:pt>
                <c:pt idx="1257">
                  <c:v>43109</c:v>
                </c:pt>
                <c:pt idx="1258">
                  <c:v>43110</c:v>
                </c:pt>
                <c:pt idx="1259">
                  <c:v>43111</c:v>
                </c:pt>
                <c:pt idx="1260">
                  <c:v>43112</c:v>
                </c:pt>
                <c:pt idx="1261">
                  <c:v>43115</c:v>
                </c:pt>
                <c:pt idx="1262">
                  <c:v>43116</c:v>
                </c:pt>
                <c:pt idx="1263">
                  <c:v>43117</c:v>
                </c:pt>
                <c:pt idx="1264">
                  <c:v>43118</c:v>
                </c:pt>
                <c:pt idx="1265">
                  <c:v>43119</c:v>
                </c:pt>
                <c:pt idx="1266">
                  <c:v>43122</c:v>
                </c:pt>
                <c:pt idx="1267">
                  <c:v>43123</c:v>
                </c:pt>
                <c:pt idx="1268">
                  <c:v>43124</c:v>
                </c:pt>
                <c:pt idx="1269">
                  <c:v>43125</c:v>
                </c:pt>
                <c:pt idx="1270">
                  <c:v>43126</c:v>
                </c:pt>
                <c:pt idx="1271">
                  <c:v>43129</c:v>
                </c:pt>
                <c:pt idx="1272">
                  <c:v>43130</c:v>
                </c:pt>
                <c:pt idx="1273">
                  <c:v>43131</c:v>
                </c:pt>
                <c:pt idx="1274">
                  <c:v>43132</c:v>
                </c:pt>
                <c:pt idx="1275">
                  <c:v>43133</c:v>
                </c:pt>
                <c:pt idx="1276">
                  <c:v>43136</c:v>
                </c:pt>
                <c:pt idx="1277">
                  <c:v>43137</c:v>
                </c:pt>
                <c:pt idx="1278">
                  <c:v>43138</c:v>
                </c:pt>
                <c:pt idx="1279">
                  <c:v>43139</c:v>
                </c:pt>
                <c:pt idx="1280">
                  <c:v>43140</c:v>
                </c:pt>
                <c:pt idx="1281">
                  <c:v>43143</c:v>
                </c:pt>
                <c:pt idx="1282">
                  <c:v>43144</c:v>
                </c:pt>
                <c:pt idx="1283">
                  <c:v>43145</c:v>
                </c:pt>
                <c:pt idx="1284">
                  <c:v>43146</c:v>
                </c:pt>
                <c:pt idx="1285">
                  <c:v>43147</c:v>
                </c:pt>
                <c:pt idx="1286">
                  <c:v>43150</c:v>
                </c:pt>
                <c:pt idx="1287">
                  <c:v>43151</c:v>
                </c:pt>
                <c:pt idx="1288">
                  <c:v>43152</c:v>
                </c:pt>
                <c:pt idx="1289">
                  <c:v>43153</c:v>
                </c:pt>
                <c:pt idx="1290">
                  <c:v>43157</c:v>
                </c:pt>
                <c:pt idx="1291">
                  <c:v>43158</c:v>
                </c:pt>
                <c:pt idx="1292">
                  <c:v>43159</c:v>
                </c:pt>
                <c:pt idx="1293">
                  <c:v>43160</c:v>
                </c:pt>
                <c:pt idx="1294">
                  <c:v>43161</c:v>
                </c:pt>
                <c:pt idx="1295">
                  <c:v>43164</c:v>
                </c:pt>
                <c:pt idx="1296">
                  <c:v>43165</c:v>
                </c:pt>
                <c:pt idx="1297">
                  <c:v>43166</c:v>
                </c:pt>
                <c:pt idx="1298">
                  <c:v>43168</c:v>
                </c:pt>
                <c:pt idx="1299">
                  <c:v>43171</c:v>
                </c:pt>
                <c:pt idx="1300">
                  <c:v>43172</c:v>
                </c:pt>
                <c:pt idx="1301">
                  <c:v>43173</c:v>
                </c:pt>
                <c:pt idx="1302">
                  <c:v>43174</c:v>
                </c:pt>
                <c:pt idx="1303">
                  <c:v>43175</c:v>
                </c:pt>
                <c:pt idx="1304">
                  <c:v>43178</c:v>
                </c:pt>
                <c:pt idx="1305">
                  <c:v>43179</c:v>
                </c:pt>
                <c:pt idx="1306">
                  <c:v>43180</c:v>
                </c:pt>
                <c:pt idx="1307">
                  <c:v>43181</c:v>
                </c:pt>
                <c:pt idx="1308">
                  <c:v>43182</c:v>
                </c:pt>
                <c:pt idx="1309">
                  <c:v>43185</c:v>
                </c:pt>
                <c:pt idx="1310">
                  <c:v>43186</c:v>
                </c:pt>
                <c:pt idx="1311">
                  <c:v>43187</c:v>
                </c:pt>
                <c:pt idx="1312">
                  <c:v>43188</c:v>
                </c:pt>
                <c:pt idx="1313">
                  <c:v>43189</c:v>
                </c:pt>
                <c:pt idx="1314">
                  <c:v>43192</c:v>
                </c:pt>
                <c:pt idx="1315">
                  <c:v>43193</c:v>
                </c:pt>
                <c:pt idx="1316">
                  <c:v>43194</c:v>
                </c:pt>
                <c:pt idx="1317">
                  <c:v>43195</c:v>
                </c:pt>
                <c:pt idx="1318">
                  <c:v>43196</c:v>
                </c:pt>
                <c:pt idx="1319">
                  <c:v>43199</c:v>
                </c:pt>
                <c:pt idx="1320">
                  <c:v>43200</c:v>
                </c:pt>
                <c:pt idx="1321">
                  <c:v>43201</c:v>
                </c:pt>
                <c:pt idx="1322">
                  <c:v>43202</c:v>
                </c:pt>
                <c:pt idx="1323">
                  <c:v>43203</c:v>
                </c:pt>
                <c:pt idx="1324">
                  <c:v>43206</c:v>
                </c:pt>
                <c:pt idx="1325">
                  <c:v>43207</c:v>
                </c:pt>
                <c:pt idx="1326">
                  <c:v>43208</c:v>
                </c:pt>
                <c:pt idx="1327">
                  <c:v>43209</c:v>
                </c:pt>
                <c:pt idx="1328">
                  <c:v>43210</c:v>
                </c:pt>
                <c:pt idx="1329">
                  <c:v>43213</c:v>
                </c:pt>
                <c:pt idx="1330">
                  <c:v>43214</c:v>
                </c:pt>
                <c:pt idx="1331">
                  <c:v>43215</c:v>
                </c:pt>
                <c:pt idx="1332">
                  <c:v>43216</c:v>
                </c:pt>
                <c:pt idx="1333">
                  <c:v>43217</c:v>
                </c:pt>
                <c:pt idx="1334">
                  <c:v>43218</c:v>
                </c:pt>
                <c:pt idx="1335">
                  <c:v>43220</c:v>
                </c:pt>
                <c:pt idx="1336">
                  <c:v>43222</c:v>
                </c:pt>
                <c:pt idx="1337">
                  <c:v>43223</c:v>
                </c:pt>
                <c:pt idx="1338">
                  <c:v>43224</c:v>
                </c:pt>
                <c:pt idx="1339">
                  <c:v>43227</c:v>
                </c:pt>
                <c:pt idx="1340">
                  <c:v>43228</c:v>
                </c:pt>
                <c:pt idx="1341">
                  <c:v>43230</c:v>
                </c:pt>
                <c:pt idx="1342">
                  <c:v>43231</c:v>
                </c:pt>
                <c:pt idx="1343">
                  <c:v>43234</c:v>
                </c:pt>
                <c:pt idx="1344">
                  <c:v>43235</c:v>
                </c:pt>
                <c:pt idx="1345">
                  <c:v>43236</c:v>
                </c:pt>
                <c:pt idx="1346">
                  <c:v>43237</c:v>
                </c:pt>
                <c:pt idx="1347">
                  <c:v>43238</c:v>
                </c:pt>
                <c:pt idx="1348">
                  <c:v>43241</c:v>
                </c:pt>
                <c:pt idx="1349">
                  <c:v>43242</c:v>
                </c:pt>
                <c:pt idx="1350">
                  <c:v>43243</c:v>
                </c:pt>
                <c:pt idx="1351">
                  <c:v>43244</c:v>
                </c:pt>
                <c:pt idx="1352">
                  <c:v>43245</c:v>
                </c:pt>
                <c:pt idx="1353">
                  <c:v>43248</c:v>
                </c:pt>
                <c:pt idx="1354">
                  <c:v>43249</c:v>
                </c:pt>
                <c:pt idx="1355">
                  <c:v>43250</c:v>
                </c:pt>
                <c:pt idx="1356">
                  <c:v>43251</c:v>
                </c:pt>
                <c:pt idx="1357">
                  <c:v>43252</c:v>
                </c:pt>
                <c:pt idx="1358">
                  <c:v>43255</c:v>
                </c:pt>
                <c:pt idx="1359">
                  <c:v>43256</c:v>
                </c:pt>
                <c:pt idx="1360">
                  <c:v>43257</c:v>
                </c:pt>
                <c:pt idx="1361">
                  <c:v>43258</c:v>
                </c:pt>
                <c:pt idx="1362">
                  <c:v>43259</c:v>
                </c:pt>
                <c:pt idx="1363">
                  <c:v>43260</c:v>
                </c:pt>
                <c:pt idx="1364">
                  <c:v>43262</c:v>
                </c:pt>
                <c:pt idx="1365">
                  <c:v>43264</c:v>
                </c:pt>
                <c:pt idx="1366">
                  <c:v>43265</c:v>
                </c:pt>
                <c:pt idx="1367">
                  <c:v>43266</c:v>
                </c:pt>
                <c:pt idx="1368">
                  <c:v>43269</c:v>
                </c:pt>
                <c:pt idx="1369">
                  <c:v>43270</c:v>
                </c:pt>
                <c:pt idx="1370">
                  <c:v>43271</c:v>
                </c:pt>
                <c:pt idx="1371">
                  <c:v>43272</c:v>
                </c:pt>
                <c:pt idx="1372">
                  <c:v>43273</c:v>
                </c:pt>
                <c:pt idx="1373">
                  <c:v>43276</c:v>
                </c:pt>
                <c:pt idx="1374">
                  <c:v>43277</c:v>
                </c:pt>
                <c:pt idx="1375">
                  <c:v>43278</c:v>
                </c:pt>
                <c:pt idx="1376">
                  <c:v>43279</c:v>
                </c:pt>
                <c:pt idx="1377">
                  <c:v>43280</c:v>
                </c:pt>
                <c:pt idx="1378">
                  <c:v>43283</c:v>
                </c:pt>
                <c:pt idx="1379">
                  <c:v>43284</c:v>
                </c:pt>
                <c:pt idx="1380">
                  <c:v>43285</c:v>
                </c:pt>
                <c:pt idx="1381">
                  <c:v>43286</c:v>
                </c:pt>
                <c:pt idx="1382">
                  <c:v>43287</c:v>
                </c:pt>
                <c:pt idx="1383">
                  <c:v>43290</c:v>
                </c:pt>
                <c:pt idx="1384">
                  <c:v>43291</c:v>
                </c:pt>
                <c:pt idx="1385">
                  <c:v>43292</c:v>
                </c:pt>
                <c:pt idx="1386">
                  <c:v>43293</c:v>
                </c:pt>
                <c:pt idx="1387">
                  <c:v>43294</c:v>
                </c:pt>
                <c:pt idx="1388">
                  <c:v>43297</c:v>
                </c:pt>
                <c:pt idx="1389">
                  <c:v>43298</c:v>
                </c:pt>
                <c:pt idx="1390">
                  <c:v>43299</c:v>
                </c:pt>
                <c:pt idx="1391">
                  <c:v>43300</c:v>
                </c:pt>
                <c:pt idx="1392">
                  <c:v>43301</c:v>
                </c:pt>
                <c:pt idx="1393">
                  <c:v>43304</c:v>
                </c:pt>
                <c:pt idx="1394">
                  <c:v>43305</c:v>
                </c:pt>
                <c:pt idx="1395">
                  <c:v>43306</c:v>
                </c:pt>
                <c:pt idx="1396">
                  <c:v>43307</c:v>
                </c:pt>
                <c:pt idx="1397">
                  <c:v>43308</c:v>
                </c:pt>
                <c:pt idx="1398">
                  <c:v>43311</c:v>
                </c:pt>
                <c:pt idx="1399">
                  <c:v>43312</c:v>
                </c:pt>
                <c:pt idx="1400">
                  <c:v>43313</c:v>
                </c:pt>
                <c:pt idx="1401">
                  <c:v>43314</c:v>
                </c:pt>
                <c:pt idx="1402">
                  <c:v>43315</c:v>
                </c:pt>
                <c:pt idx="1403">
                  <c:v>43318</c:v>
                </c:pt>
                <c:pt idx="1404">
                  <c:v>43319</c:v>
                </c:pt>
                <c:pt idx="1405">
                  <c:v>43320</c:v>
                </c:pt>
                <c:pt idx="1406">
                  <c:v>43321</c:v>
                </c:pt>
                <c:pt idx="1407">
                  <c:v>43322</c:v>
                </c:pt>
                <c:pt idx="1408">
                  <c:v>43325</c:v>
                </c:pt>
                <c:pt idx="1409">
                  <c:v>43326</c:v>
                </c:pt>
                <c:pt idx="1410">
                  <c:v>43327</c:v>
                </c:pt>
                <c:pt idx="1411">
                  <c:v>43328</c:v>
                </c:pt>
                <c:pt idx="1412">
                  <c:v>43329</c:v>
                </c:pt>
                <c:pt idx="1413">
                  <c:v>43332</c:v>
                </c:pt>
                <c:pt idx="1414">
                  <c:v>43333</c:v>
                </c:pt>
                <c:pt idx="1415">
                  <c:v>43334</c:v>
                </c:pt>
                <c:pt idx="1416">
                  <c:v>43335</c:v>
                </c:pt>
                <c:pt idx="1417">
                  <c:v>43336</c:v>
                </c:pt>
                <c:pt idx="1418">
                  <c:v>43339</c:v>
                </c:pt>
                <c:pt idx="1419">
                  <c:v>43340</c:v>
                </c:pt>
                <c:pt idx="1420">
                  <c:v>43341</c:v>
                </c:pt>
                <c:pt idx="1421">
                  <c:v>43342</c:v>
                </c:pt>
                <c:pt idx="1422">
                  <c:v>43343</c:v>
                </c:pt>
                <c:pt idx="1423">
                  <c:v>43346</c:v>
                </c:pt>
                <c:pt idx="1424">
                  <c:v>43347</c:v>
                </c:pt>
                <c:pt idx="1425">
                  <c:v>43348</c:v>
                </c:pt>
                <c:pt idx="1426">
                  <c:v>43349</c:v>
                </c:pt>
                <c:pt idx="1427">
                  <c:v>43350</c:v>
                </c:pt>
                <c:pt idx="1428">
                  <c:v>43353</c:v>
                </c:pt>
                <c:pt idx="1429">
                  <c:v>43354</c:v>
                </c:pt>
                <c:pt idx="1430">
                  <c:v>43355</c:v>
                </c:pt>
                <c:pt idx="1431">
                  <c:v>43356</c:v>
                </c:pt>
                <c:pt idx="1432">
                  <c:v>43357</c:v>
                </c:pt>
                <c:pt idx="1433">
                  <c:v>43360</c:v>
                </c:pt>
                <c:pt idx="1434">
                  <c:v>43361</c:v>
                </c:pt>
                <c:pt idx="1435">
                  <c:v>43362</c:v>
                </c:pt>
                <c:pt idx="1436">
                  <c:v>43363</c:v>
                </c:pt>
                <c:pt idx="1437">
                  <c:v>43364</c:v>
                </c:pt>
                <c:pt idx="1438">
                  <c:v>43367</c:v>
                </c:pt>
                <c:pt idx="1439">
                  <c:v>43368</c:v>
                </c:pt>
                <c:pt idx="1440">
                  <c:v>43369</c:v>
                </c:pt>
                <c:pt idx="1441">
                  <c:v>43370</c:v>
                </c:pt>
                <c:pt idx="1442">
                  <c:v>43371</c:v>
                </c:pt>
                <c:pt idx="1443">
                  <c:v>43374</c:v>
                </c:pt>
                <c:pt idx="1444">
                  <c:v>43375</c:v>
                </c:pt>
                <c:pt idx="1445">
                  <c:v>43376</c:v>
                </c:pt>
                <c:pt idx="1446">
                  <c:v>43377</c:v>
                </c:pt>
                <c:pt idx="1447">
                  <c:v>43378</c:v>
                </c:pt>
                <c:pt idx="1448">
                  <c:v>43381</c:v>
                </c:pt>
                <c:pt idx="1449">
                  <c:v>43382</c:v>
                </c:pt>
                <c:pt idx="1450">
                  <c:v>43383</c:v>
                </c:pt>
                <c:pt idx="1451">
                  <c:v>43384</c:v>
                </c:pt>
                <c:pt idx="1452">
                  <c:v>43385</c:v>
                </c:pt>
                <c:pt idx="1453">
                  <c:v>43388</c:v>
                </c:pt>
                <c:pt idx="1454">
                  <c:v>43389</c:v>
                </c:pt>
                <c:pt idx="1455">
                  <c:v>43390</c:v>
                </c:pt>
                <c:pt idx="1456">
                  <c:v>43391</c:v>
                </c:pt>
                <c:pt idx="1457">
                  <c:v>43392</c:v>
                </c:pt>
                <c:pt idx="1458">
                  <c:v>43395</c:v>
                </c:pt>
                <c:pt idx="1459">
                  <c:v>43396</c:v>
                </c:pt>
                <c:pt idx="1460">
                  <c:v>43397</c:v>
                </c:pt>
                <c:pt idx="1461">
                  <c:v>43398</c:v>
                </c:pt>
                <c:pt idx="1462">
                  <c:v>43399</c:v>
                </c:pt>
                <c:pt idx="1463">
                  <c:v>43402</c:v>
                </c:pt>
                <c:pt idx="1464">
                  <c:v>43403</c:v>
                </c:pt>
                <c:pt idx="1465">
                  <c:v>43404</c:v>
                </c:pt>
                <c:pt idx="1466">
                  <c:v>43405</c:v>
                </c:pt>
                <c:pt idx="1467">
                  <c:v>43406</c:v>
                </c:pt>
                <c:pt idx="1468">
                  <c:v>43410</c:v>
                </c:pt>
                <c:pt idx="1469">
                  <c:v>43411</c:v>
                </c:pt>
                <c:pt idx="1470">
                  <c:v>43412</c:v>
                </c:pt>
                <c:pt idx="1471">
                  <c:v>43413</c:v>
                </c:pt>
                <c:pt idx="1472">
                  <c:v>43416</c:v>
                </c:pt>
                <c:pt idx="1473">
                  <c:v>43417</c:v>
                </c:pt>
                <c:pt idx="1474">
                  <c:v>43418</c:v>
                </c:pt>
                <c:pt idx="1475">
                  <c:v>43419</c:v>
                </c:pt>
                <c:pt idx="1476">
                  <c:v>43420</c:v>
                </c:pt>
                <c:pt idx="1477">
                  <c:v>43423</c:v>
                </c:pt>
                <c:pt idx="1478">
                  <c:v>43424</c:v>
                </c:pt>
                <c:pt idx="1479">
                  <c:v>43425</c:v>
                </c:pt>
                <c:pt idx="1480">
                  <c:v>43426</c:v>
                </c:pt>
                <c:pt idx="1481">
                  <c:v>43427</c:v>
                </c:pt>
                <c:pt idx="1482">
                  <c:v>43430</c:v>
                </c:pt>
                <c:pt idx="1483">
                  <c:v>43431</c:v>
                </c:pt>
                <c:pt idx="1484">
                  <c:v>43432</c:v>
                </c:pt>
                <c:pt idx="1485">
                  <c:v>43433</c:v>
                </c:pt>
                <c:pt idx="1486">
                  <c:v>43434</c:v>
                </c:pt>
                <c:pt idx="1487">
                  <c:v>43437</c:v>
                </c:pt>
                <c:pt idx="1488">
                  <c:v>43438</c:v>
                </c:pt>
                <c:pt idx="1489">
                  <c:v>43439</c:v>
                </c:pt>
                <c:pt idx="1490">
                  <c:v>43440</c:v>
                </c:pt>
                <c:pt idx="1491">
                  <c:v>43441</c:v>
                </c:pt>
                <c:pt idx="1492">
                  <c:v>43444</c:v>
                </c:pt>
                <c:pt idx="1493">
                  <c:v>43445</c:v>
                </c:pt>
                <c:pt idx="1494">
                  <c:v>43446</c:v>
                </c:pt>
                <c:pt idx="1495">
                  <c:v>43447</c:v>
                </c:pt>
                <c:pt idx="1496">
                  <c:v>43448</c:v>
                </c:pt>
                <c:pt idx="1497">
                  <c:v>43451</c:v>
                </c:pt>
                <c:pt idx="1498">
                  <c:v>43452</c:v>
                </c:pt>
                <c:pt idx="1499">
                  <c:v>43453</c:v>
                </c:pt>
                <c:pt idx="1500">
                  <c:v>43454</c:v>
                </c:pt>
                <c:pt idx="1501">
                  <c:v>43455</c:v>
                </c:pt>
                <c:pt idx="1502">
                  <c:v>43458</c:v>
                </c:pt>
                <c:pt idx="1503">
                  <c:v>43459</c:v>
                </c:pt>
                <c:pt idx="1504">
                  <c:v>43460</c:v>
                </c:pt>
                <c:pt idx="1505">
                  <c:v>43461</c:v>
                </c:pt>
                <c:pt idx="1506">
                  <c:v>43462</c:v>
                </c:pt>
                <c:pt idx="1507">
                  <c:v>43463</c:v>
                </c:pt>
                <c:pt idx="1508">
                  <c:v>43468</c:v>
                </c:pt>
                <c:pt idx="1509">
                  <c:v>43469</c:v>
                </c:pt>
                <c:pt idx="1510">
                  <c:v>43473</c:v>
                </c:pt>
                <c:pt idx="1511">
                  <c:v>43474</c:v>
                </c:pt>
                <c:pt idx="1512">
                  <c:v>43475</c:v>
                </c:pt>
                <c:pt idx="1513">
                  <c:v>43476</c:v>
                </c:pt>
                <c:pt idx="1514">
                  <c:v>43479</c:v>
                </c:pt>
                <c:pt idx="1515">
                  <c:v>43480</c:v>
                </c:pt>
                <c:pt idx="1516">
                  <c:v>43481</c:v>
                </c:pt>
                <c:pt idx="1517">
                  <c:v>43482</c:v>
                </c:pt>
                <c:pt idx="1518">
                  <c:v>43483</c:v>
                </c:pt>
                <c:pt idx="1519">
                  <c:v>43486</c:v>
                </c:pt>
                <c:pt idx="1520">
                  <c:v>43487</c:v>
                </c:pt>
                <c:pt idx="1521">
                  <c:v>43488</c:v>
                </c:pt>
                <c:pt idx="1522">
                  <c:v>43489</c:v>
                </c:pt>
                <c:pt idx="1523">
                  <c:v>43490</c:v>
                </c:pt>
                <c:pt idx="1524">
                  <c:v>43493</c:v>
                </c:pt>
                <c:pt idx="1525">
                  <c:v>43494</c:v>
                </c:pt>
                <c:pt idx="1526">
                  <c:v>43495</c:v>
                </c:pt>
                <c:pt idx="1527">
                  <c:v>43496</c:v>
                </c:pt>
                <c:pt idx="1528">
                  <c:v>43497</c:v>
                </c:pt>
                <c:pt idx="1529">
                  <c:v>43500</c:v>
                </c:pt>
                <c:pt idx="1530">
                  <c:v>43501</c:v>
                </c:pt>
                <c:pt idx="1531">
                  <c:v>43502</c:v>
                </c:pt>
                <c:pt idx="1532">
                  <c:v>43503</c:v>
                </c:pt>
                <c:pt idx="1533">
                  <c:v>43504</c:v>
                </c:pt>
                <c:pt idx="1534">
                  <c:v>43507</c:v>
                </c:pt>
                <c:pt idx="1535">
                  <c:v>43508</c:v>
                </c:pt>
                <c:pt idx="1536">
                  <c:v>43509</c:v>
                </c:pt>
                <c:pt idx="1537">
                  <c:v>43510</c:v>
                </c:pt>
                <c:pt idx="1538">
                  <c:v>43511</c:v>
                </c:pt>
                <c:pt idx="1539">
                  <c:v>43514</c:v>
                </c:pt>
                <c:pt idx="1540">
                  <c:v>43515</c:v>
                </c:pt>
                <c:pt idx="1541">
                  <c:v>43516</c:v>
                </c:pt>
                <c:pt idx="1542">
                  <c:v>43517</c:v>
                </c:pt>
                <c:pt idx="1543">
                  <c:v>43518</c:v>
                </c:pt>
                <c:pt idx="1544">
                  <c:v>43521</c:v>
                </c:pt>
                <c:pt idx="1545">
                  <c:v>43522</c:v>
                </c:pt>
                <c:pt idx="1546">
                  <c:v>43523</c:v>
                </c:pt>
                <c:pt idx="1547">
                  <c:v>43524</c:v>
                </c:pt>
                <c:pt idx="1548">
                  <c:v>43525</c:v>
                </c:pt>
                <c:pt idx="1549">
                  <c:v>43528</c:v>
                </c:pt>
                <c:pt idx="1550">
                  <c:v>43529</c:v>
                </c:pt>
                <c:pt idx="1551">
                  <c:v>43530</c:v>
                </c:pt>
                <c:pt idx="1552">
                  <c:v>43531</c:v>
                </c:pt>
                <c:pt idx="1553">
                  <c:v>43535</c:v>
                </c:pt>
                <c:pt idx="1554">
                  <c:v>43536</c:v>
                </c:pt>
                <c:pt idx="1555">
                  <c:v>43537</c:v>
                </c:pt>
                <c:pt idx="1556">
                  <c:v>43538</c:v>
                </c:pt>
                <c:pt idx="1557">
                  <c:v>43539</c:v>
                </c:pt>
                <c:pt idx="1558">
                  <c:v>43542</c:v>
                </c:pt>
                <c:pt idx="1559">
                  <c:v>43543</c:v>
                </c:pt>
                <c:pt idx="1560">
                  <c:v>43544</c:v>
                </c:pt>
                <c:pt idx="1561">
                  <c:v>43545</c:v>
                </c:pt>
                <c:pt idx="1562">
                  <c:v>43546</c:v>
                </c:pt>
                <c:pt idx="1563">
                  <c:v>43549</c:v>
                </c:pt>
                <c:pt idx="1564">
                  <c:v>43550</c:v>
                </c:pt>
                <c:pt idx="1565">
                  <c:v>43551</c:v>
                </c:pt>
                <c:pt idx="1566">
                  <c:v>43552</c:v>
                </c:pt>
                <c:pt idx="1567">
                  <c:v>43553</c:v>
                </c:pt>
                <c:pt idx="1568">
                  <c:v>43556</c:v>
                </c:pt>
                <c:pt idx="1569">
                  <c:v>43557</c:v>
                </c:pt>
                <c:pt idx="1570">
                  <c:v>43558</c:v>
                </c:pt>
                <c:pt idx="1571">
                  <c:v>43559</c:v>
                </c:pt>
                <c:pt idx="1572">
                  <c:v>43560</c:v>
                </c:pt>
                <c:pt idx="1573">
                  <c:v>43563</c:v>
                </c:pt>
                <c:pt idx="1574">
                  <c:v>43564</c:v>
                </c:pt>
                <c:pt idx="1575">
                  <c:v>43565</c:v>
                </c:pt>
                <c:pt idx="1576">
                  <c:v>43566</c:v>
                </c:pt>
                <c:pt idx="1577">
                  <c:v>43567</c:v>
                </c:pt>
                <c:pt idx="1578">
                  <c:v>43570</c:v>
                </c:pt>
                <c:pt idx="1579">
                  <c:v>43571</c:v>
                </c:pt>
                <c:pt idx="1580">
                  <c:v>43572</c:v>
                </c:pt>
                <c:pt idx="1581">
                  <c:v>43573</c:v>
                </c:pt>
                <c:pt idx="1582">
                  <c:v>43574</c:v>
                </c:pt>
                <c:pt idx="1583">
                  <c:v>43577</c:v>
                </c:pt>
                <c:pt idx="1584">
                  <c:v>43578</c:v>
                </c:pt>
                <c:pt idx="1585">
                  <c:v>43579</c:v>
                </c:pt>
                <c:pt idx="1586">
                  <c:v>43580</c:v>
                </c:pt>
                <c:pt idx="1587">
                  <c:v>43581</c:v>
                </c:pt>
                <c:pt idx="1588">
                  <c:v>43584</c:v>
                </c:pt>
                <c:pt idx="1589">
                  <c:v>43585</c:v>
                </c:pt>
                <c:pt idx="1590">
                  <c:v>43587</c:v>
                </c:pt>
                <c:pt idx="1591">
                  <c:v>43588</c:v>
                </c:pt>
                <c:pt idx="1592">
                  <c:v>43591</c:v>
                </c:pt>
                <c:pt idx="1593">
                  <c:v>43592</c:v>
                </c:pt>
                <c:pt idx="1594">
                  <c:v>43593</c:v>
                </c:pt>
                <c:pt idx="1595">
                  <c:v>43595</c:v>
                </c:pt>
                <c:pt idx="1596">
                  <c:v>43598</c:v>
                </c:pt>
                <c:pt idx="1597">
                  <c:v>43599</c:v>
                </c:pt>
                <c:pt idx="1598">
                  <c:v>43600</c:v>
                </c:pt>
                <c:pt idx="1599">
                  <c:v>43601</c:v>
                </c:pt>
                <c:pt idx="1600">
                  <c:v>43602</c:v>
                </c:pt>
                <c:pt idx="1601">
                  <c:v>43605</c:v>
                </c:pt>
                <c:pt idx="1602">
                  <c:v>43606</c:v>
                </c:pt>
                <c:pt idx="1603">
                  <c:v>43607</c:v>
                </c:pt>
                <c:pt idx="1604">
                  <c:v>43608</c:v>
                </c:pt>
                <c:pt idx="1605">
                  <c:v>43609</c:v>
                </c:pt>
                <c:pt idx="1606">
                  <c:v>43612</c:v>
                </c:pt>
                <c:pt idx="1607">
                  <c:v>43613</c:v>
                </c:pt>
                <c:pt idx="1608">
                  <c:v>43614</c:v>
                </c:pt>
                <c:pt idx="1609">
                  <c:v>43615</c:v>
                </c:pt>
                <c:pt idx="1610">
                  <c:v>43616</c:v>
                </c:pt>
                <c:pt idx="1611">
                  <c:v>43619</c:v>
                </c:pt>
                <c:pt idx="1612">
                  <c:v>43620</c:v>
                </c:pt>
                <c:pt idx="1613">
                  <c:v>43621</c:v>
                </c:pt>
                <c:pt idx="1614">
                  <c:v>43622</c:v>
                </c:pt>
                <c:pt idx="1615">
                  <c:v>43623</c:v>
                </c:pt>
                <c:pt idx="1616">
                  <c:v>43626</c:v>
                </c:pt>
                <c:pt idx="1617">
                  <c:v>43627</c:v>
                </c:pt>
                <c:pt idx="1618">
                  <c:v>43629</c:v>
                </c:pt>
                <c:pt idx="1619">
                  <c:v>43630</c:v>
                </c:pt>
                <c:pt idx="1620">
                  <c:v>43633</c:v>
                </c:pt>
                <c:pt idx="1621">
                  <c:v>43634</c:v>
                </c:pt>
                <c:pt idx="1622">
                  <c:v>43635</c:v>
                </c:pt>
                <c:pt idx="1623">
                  <c:v>43636</c:v>
                </c:pt>
                <c:pt idx="1624">
                  <c:v>43637</c:v>
                </c:pt>
                <c:pt idx="1625">
                  <c:v>43640</c:v>
                </c:pt>
                <c:pt idx="1626">
                  <c:v>43641</c:v>
                </c:pt>
                <c:pt idx="1627">
                  <c:v>43642</c:v>
                </c:pt>
                <c:pt idx="1628">
                  <c:v>43643</c:v>
                </c:pt>
                <c:pt idx="1629">
                  <c:v>43644</c:v>
                </c:pt>
                <c:pt idx="1630">
                  <c:v>43647</c:v>
                </c:pt>
                <c:pt idx="1631">
                  <c:v>43648</c:v>
                </c:pt>
                <c:pt idx="1632">
                  <c:v>43649</c:v>
                </c:pt>
                <c:pt idx="1633">
                  <c:v>43650</c:v>
                </c:pt>
                <c:pt idx="1634">
                  <c:v>43651</c:v>
                </c:pt>
                <c:pt idx="1635">
                  <c:v>43654</c:v>
                </c:pt>
                <c:pt idx="1636">
                  <c:v>43655</c:v>
                </c:pt>
                <c:pt idx="1637">
                  <c:v>43656</c:v>
                </c:pt>
                <c:pt idx="1638">
                  <c:v>43657</c:v>
                </c:pt>
                <c:pt idx="1639">
                  <c:v>43658</c:v>
                </c:pt>
                <c:pt idx="1640">
                  <c:v>43661</c:v>
                </c:pt>
                <c:pt idx="1641">
                  <c:v>43662</c:v>
                </c:pt>
                <c:pt idx="1642">
                  <c:v>43663</c:v>
                </c:pt>
                <c:pt idx="1643">
                  <c:v>43664</c:v>
                </c:pt>
                <c:pt idx="1644">
                  <c:v>43665</c:v>
                </c:pt>
                <c:pt idx="1645">
                  <c:v>43668</c:v>
                </c:pt>
                <c:pt idx="1646">
                  <c:v>43669</c:v>
                </c:pt>
                <c:pt idx="1647">
                  <c:v>43670</c:v>
                </c:pt>
                <c:pt idx="1648">
                  <c:v>43671</c:v>
                </c:pt>
                <c:pt idx="1649">
                  <c:v>43672</c:v>
                </c:pt>
                <c:pt idx="1650">
                  <c:v>43675</c:v>
                </c:pt>
                <c:pt idx="1651">
                  <c:v>43676</c:v>
                </c:pt>
                <c:pt idx="1652">
                  <c:v>43677</c:v>
                </c:pt>
                <c:pt idx="1653">
                  <c:v>43678</c:v>
                </c:pt>
                <c:pt idx="1654">
                  <c:v>43679</c:v>
                </c:pt>
                <c:pt idx="1655">
                  <c:v>43682</c:v>
                </c:pt>
                <c:pt idx="1656">
                  <c:v>43683</c:v>
                </c:pt>
                <c:pt idx="1657">
                  <c:v>43684</c:v>
                </c:pt>
                <c:pt idx="1658">
                  <c:v>43685</c:v>
                </c:pt>
                <c:pt idx="1659">
                  <c:v>43686</c:v>
                </c:pt>
                <c:pt idx="1660">
                  <c:v>43689</c:v>
                </c:pt>
                <c:pt idx="1661">
                  <c:v>43690</c:v>
                </c:pt>
                <c:pt idx="1662">
                  <c:v>43691</c:v>
                </c:pt>
                <c:pt idx="1663">
                  <c:v>43692</c:v>
                </c:pt>
                <c:pt idx="1664">
                  <c:v>43693</c:v>
                </c:pt>
                <c:pt idx="1665">
                  <c:v>43696</c:v>
                </c:pt>
                <c:pt idx="1666">
                  <c:v>43697</c:v>
                </c:pt>
                <c:pt idx="1667">
                  <c:v>43698</c:v>
                </c:pt>
                <c:pt idx="1668">
                  <c:v>43699</c:v>
                </c:pt>
                <c:pt idx="1669">
                  <c:v>43700</c:v>
                </c:pt>
                <c:pt idx="1670">
                  <c:v>43703</c:v>
                </c:pt>
                <c:pt idx="1671">
                  <c:v>43704</c:v>
                </c:pt>
                <c:pt idx="1672">
                  <c:v>43705</c:v>
                </c:pt>
                <c:pt idx="1673">
                  <c:v>43706</c:v>
                </c:pt>
                <c:pt idx="1674">
                  <c:v>43707</c:v>
                </c:pt>
                <c:pt idx="1675">
                  <c:v>43710</c:v>
                </c:pt>
                <c:pt idx="1676">
                  <c:v>43711</c:v>
                </c:pt>
                <c:pt idx="1677">
                  <c:v>43712</c:v>
                </c:pt>
                <c:pt idx="1678">
                  <c:v>43713</c:v>
                </c:pt>
                <c:pt idx="1679">
                  <c:v>43714</c:v>
                </c:pt>
                <c:pt idx="1680">
                  <c:v>43717</c:v>
                </c:pt>
                <c:pt idx="1681">
                  <c:v>43718</c:v>
                </c:pt>
                <c:pt idx="1682">
                  <c:v>43719</c:v>
                </c:pt>
                <c:pt idx="1683">
                  <c:v>43720</c:v>
                </c:pt>
                <c:pt idx="1684">
                  <c:v>43721</c:v>
                </c:pt>
                <c:pt idx="1685">
                  <c:v>43724</c:v>
                </c:pt>
                <c:pt idx="1686">
                  <c:v>43725</c:v>
                </c:pt>
                <c:pt idx="1687">
                  <c:v>43726</c:v>
                </c:pt>
                <c:pt idx="1688">
                  <c:v>43727</c:v>
                </c:pt>
                <c:pt idx="1689">
                  <c:v>43728</c:v>
                </c:pt>
                <c:pt idx="1690">
                  <c:v>43731</c:v>
                </c:pt>
                <c:pt idx="1691">
                  <c:v>43732</c:v>
                </c:pt>
                <c:pt idx="1692">
                  <c:v>43733</c:v>
                </c:pt>
                <c:pt idx="1693">
                  <c:v>43734</c:v>
                </c:pt>
                <c:pt idx="1694">
                  <c:v>43735</c:v>
                </c:pt>
                <c:pt idx="1695">
                  <c:v>43738</c:v>
                </c:pt>
                <c:pt idx="1696">
                  <c:v>43739</c:v>
                </c:pt>
                <c:pt idx="1697">
                  <c:v>43740</c:v>
                </c:pt>
                <c:pt idx="1698">
                  <c:v>43741</c:v>
                </c:pt>
                <c:pt idx="1699">
                  <c:v>43742</c:v>
                </c:pt>
                <c:pt idx="1700">
                  <c:v>43745</c:v>
                </c:pt>
                <c:pt idx="1701">
                  <c:v>43746</c:v>
                </c:pt>
                <c:pt idx="1702">
                  <c:v>43747</c:v>
                </c:pt>
                <c:pt idx="1703">
                  <c:v>43748</c:v>
                </c:pt>
                <c:pt idx="1704">
                  <c:v>43749</c:v>
                </c:pt>
                <c:pt idx="1705">
                  <c:v>43752</c:v>
                </c:pt>
                <c:pt idx="1706">
                  <c:v>43753</c:v>
                </c:pt>
                <c:pt idx="1707">
                  <c:v>43754</c:v>
                </c:pt>
                <c:pt idx="1708">
                  <c:v>43755</c:v>
                </c:pt>
                <c:pt idx="1709">
                  <c:v>43756</c:v>
                </c:pt>
                <c:pt idx="1710">
                  <c:v>43759</c:v>
                </c:pt>
                <c:pt idx="1711">
                  <c:v>43760</c:v>
                </c:pt>
                <c:pt idx="1712">
                  <c:v>43761</c:v>
                </c:pt>
                <c:pt idx="1713">
                  <c:v>43762</c:v>
                </c:pt>
                <c:pt idx="1714">
                  <c:v>43763</c:v>
                </c:pt>
                <c:pt idx="1715">
                  <c:v>43766</c:v>
                </c:pt>
                <c:pt idx="1716">
                  <c:v>43767</c:v>
                </c:pt>
                <c:pt idx="1717">
                  <c:v>43768</c:v>
                </c:pt>
                <c:pt idx="1718">
                  <c:v>43769</c:v>
                </c:pt>
                <c:pt idx="1719">
                  <c:v>43770</c:v>
                </c:pt>
                <c:pt idx="1720">
                  <c:v>43774</c:v>
                </c:pt>
                <c:pt idx="1721">
                  <c:v>43775</c:v>
                </c:pt>
                <c:pt idx="1722">
                  <c:v>43776</c:v>
                </c:pt>
                <c:pt idx="1723">
                  <c:v>43777</c:v>
                </c:pt>
                <c:pt idx="1724">
                  <c:v>43780</c:v>
                </c:pt>
                <c:pt idx="1725">
                  <c:v>43781</c:v>
                </c:pt>
                <c:pt idx="1726">
                  <c:v>43782</c:v>
                </c:pt>
                <c:pt idx="1727">
                  <c:v>43783</c:v>
                </c:pt>
                <c:pt idx="1728">
                  <c:v>43784</c:v>
                </c:pt>
                <c:pt idx="1729">
                  <c:v>43787</c:v>
                </c:pt>
                <c:pt idx="1730">
                  <c:v>43788</c:v>
                </c:pt>
                <c:pt idx="1731">
                  <c:v>43789</c:v>
                </c:pt>
                <c:pt idx="1732">
                  <c:v>43790</c:v>
                </c:pt>
                <c:pt idx="1733">
                  <c:v>43791</c:v>
                </c:pt>
                <c:pt idx="1734">
                  <c:v>43794</c:v>
                </c:pt>
                <c:pt idx="1735">
                  <c:v>43795</c:v>
                </c:pt>
                <c:pt idx="1736">
                  <c:v>43796</c:v>
                </c:pt>
                <c:pt idx="1737">
                  <c:v>43797</c:v>
                </c:pt>
                <c:pt idx="1738">
                  <c:v>43798</c:v>
                </c:pt>
                <c:pt idx="1739">
                  <c:v>43801</c:v>
                </c:pt>
                <c:pt idx="1740">
                  <c:v>43802</c:v>
                </c:pt>
                <c:pt idx="1741">
                  <c:v>43803</c:v>
                </c:pt>
                <c:pt idx="1742">
                  <c:v>43804</c:v>
                </c:pt>
                <c:pt idx="1743">
                  <c:v>43805</c:v>
                </c:pt>
                <c:pt idx="1744">
                  <c:v>43808</c:v>
                </c:pt>
                <c:pt idx="1745">
                  <c:v>43809</c:v>
                </c:pt>
                <c:pt idx="1746">
                  <c:v>43810</c:v>
                </c:pt>
                <c:pt idx="1747">
                  <c:v>43811</c:v>
                </c:pt>
                <c:pt idx="1748">
                  <c:v>43812</c:v>
                </c:pt>
                <c:pt idx="1749">
                  <c:v>43815</c:v>
                </c:pt>
                <c:pt idx="1750">
                  <c:v>43816</c:v>
                </c:pt>
                <c:pt idx="1751">
                  <c:v>43817</c:v>
                </c:pt>
                <c:pt idx="1752">
                  <c:v>43818</c:v>
                </c:pt>
                <c:pt idx="1753">
                  <c:v>43819</c:v>
                </c:pt>
                <c:pt idx="1754">
                  <c:v>43822</c:v>
                </c:pt>
                <c:pt idx="1755">
                  <c:v>43823</c:v>
                </c:pt>
                <c:pt idx="1756">
                  <c:v>43824</c:v>
                </c:pt>
                <c:pt idx="1757">
                  <c:v>43825</c:v>
                </c:pt>
                <c:pt idx="1758">
                  <c:v>43826</c:v>
                </c:pt>
                <c:pt idx="1759">
                  <c:v>43829</c:v>
                </c:pt>
                <c:pt idx="1760">
                  <c:v>43833</c:v>
                </c:pt>
                <c:pt idx="1761">
                  <c:v>43836</c:v>
                </c:pt>
                <c:pt idx="1762">
                  <c:v>43838</c:v>
                </c:pt>
                <c:pt idx="1763">
                  <c:v>43839</c:v>
                </c:pt>
                <c:pt idx="1764">
                  <c:v>43840</c:v>
                </c:pt>
                <c:pt idx="1765">
                  <c:v>43843</c:v>
                </c:pt>
                <c:pt idx="1766">
                  <c:v>43844</c:v>
                </c:pt>
                <c:pt idx="1767">
                  <c:v>43845</c:v>
                </c:pt>
                <c:pt idx="1768">
                  <c:v>43846</c:v>
                </c:pt>
                <c:pt idx="1769">
                  <c:v>43847</c:v>
                </c:pt>
                <c:pt idx="1770">
                  <c:v>43850</c:v>
                </c:pt>
                <c:pt idx="1771">
                  <c:v>43851</c:v>
                </c:pt>
                <c:pt idx="1772">
                  <c:v>43852</c:v>
                </c:pt>
                <c:pt idx="1773">
                  <c:v>43853</c:v>
                </c:pt>
                <c:pt idx="1774">
                  <c:v>43854</c:v>
                </c:pt>
                <c:pt idx="1775">
                  <c:v>43857</c:v>
                </c:pt>
                <c:pt idx="1776">
                  <c:v>43858</c:v>
                </c:pt>
                <c:pt idx="1777">
                  <c:v>43859</c:v>
                </c:pt>
                <c:pt idx="1778">
                  <c:v>43860</c:v>
                </c:pt>
                <c:pt idx="1779">
                  <c:v>43861</c:v>
                </c:pt>
                <c:pt idx="1780">
                  <c:v>43864</c:v>
                </c:pt>
                <c:pt idx="1781">
                  <c:v>43865</c:v>
                </c:pt>
                <c:pt idx="1782">
                  <c:v>43866</c:v>
                </c:pt>
                <c:pt idx="1783">
                  <c:v>43867</c:v>
                </c:pt>
                <c:pt idx="1784">
                  <c:v>43868</c:v>
                </c:pt>
                <c:pt idx="1785">
                  <c:v>43871</c:v>
                </c:pt>
                <c:pt idx="1786">
                  <c:v>43872</c:v>
                </c:pt>
                <c:pt idx="1787">
                  <c:v>43873</c:v>
                </c:pt>
                <c:pt idx="1788">
                  <c:v>43874</c:v>
                </c:pt>
                <c:pt idx="1789">
                  <c:v>43875</c:v>
                </c:pt>
                <c:pt idx="1790">
                  <c:v>43878</c:v>
                </c:pt>
                <c:pt idx="1791">
                  <c:v>43879</c:v>
                </c:pt>
                <c:pt idx="1792">
                  <c:v>43880</c:v>
                </c:pt>
                <c:pt idx="1793">
                  <c:v>43881</c:v>
                </c:pt>
                <c:pt idx="1794">
                  <c:v>43882</c:v>
                </c:pt>
                <c:pt idx="1795">
                  <c:v>43886</c:v>
                </c:pt>
                <c:pt idx="1796">
                  <c:v>43887</c:v>
                </c:pt>
                <c:pt idx="1797">
                  <c:v>43888</c:v>
                </c:pt>
                <c:pt idx="1798">
                  <c:v>43889</c:v>
                </c:pt>
                <c:pt idx="1799">
                  <c:v>43892</c:v>
                </c:pt>
                <c:pt idx="1800">
                  <c:v>43893</c:v>
                </c:pt>
                <c:pt idx="1801">
                  <c:v>43894</c:v>
                </c:pt>
                <c:pt idx="1802">
                  <c:v>43895</c:v>
                </c:pt>
                <c:pt idx="1803">
                  <c:v>43896</c:v>
                </c:pt>
                <c:pt idx="1804">
                  <c:v>43900</c:v>
                </c:pt>
                <c:pt idx="1805">
                  <c:v>43901</c:v>
                </c:pt>
                <c:pt idx="1806">
                  <c:v>43902</c:v>
                </c:pt>
                <c:pt idx="1807">
                  <c:v>43903</c:v>
                </c:pt>
                <c:pt idx="1808">
                  <c:v>43906</c:v>
                </c:pt>
                <c:pt idx="1809">
                  <c:v>43907</c:v>
                </c:pt>
                <c:pt idx="1810">
                  <c:v>43908</c:v>
                </c:pt>
                <c:pt idx="1811">
                  <c:v>43909</c:v>
                </c:pt>
                <c:pt idx="1812">
                  <c:v>43910</c:v>
                </c:pt>
                <c:pt idx="1813">
                  <c:v>43913</c:v>
                </c:pt>
                <c:pt idx="1814">
                  <c:v>43914</c:v>
                </c:pt>
                <c:pt idx="1815">
                  <c:v>43915</c:v>
                </c:pt>
                <c:pt idx="1816">
                  <c:v>43916</c:v>
                </c:pt>
                <c:pt idx="1817">
                  <c:v>43917</c:v>
                </c:pt>
                <c:pt idx="1818">
                  <c:v>43920</c:v>
                </c:pt>
                <c:pt idx="1819">
                  <c:v>43921</c:v>
                </c:pt>
                <c:pt idx="1820">
                  <c:v>43922</c:v>
                </c:pt>
                <c:pt idx="1821">
                  <c:v>43923</c:v>
                </c:pt>
                <c:pt idx="1822">
                  <c:v>43924</c:v>
                </c:pt>
                <c:pt idx="1823">
                  <c:v>43927</c:v>
                </c:pt>
                <c:pt idx="1824">
                  <c:v>43928</c:v>
                </c:pt>
                <c:pt idx="1825">
                  <c:v>43929</c:v>
                </c:pt>
                <c:pt idx="1826">
                  <c:v>43930</c:v>
                </c:pt>
                <c:pt idx="1827">
                  <c:v>43931</c:v>
                </c:pt>
                <c:pt idx="1828">
                  <c:v>43934</c:v>
                </c:pt>
                <c:pt idx="1829">
                  <c:v>43935</c:v>
                </c:pt>
                <c:pt idx="1830">
                  <c:v>43936</c:v>
                </c:pt>
                <c:pt idx="1831">
                  <c:v>43937</c:v>
                </c:pt>
                <c:pt idx="1832">
                  <c:v>43938</c:v>
                </c:pt>
                <c:pt idx="1833">
                  <c:v>43941</c:v>
                </c:pt>
                <c:pt idx="1834">
                  <c:v>43942</c:v>
                </c:pt>
                <c:pt idx="1835">
                  <c:v>43943</c:v>
                </c:pt>
                <c:pt idx="1836">
                  <c:v>43944</c:v>
                </c:pt>
                <c:pt idx="1837">
                  <c:v>43945</c:v>
                </c:pt>
                <c:pt idx="1838">
                  <c:v>43948</c:v>
                </c:pt>
                <c:pt idx="1839">
                  <c:v>43949</c:v>
                </c:pt>
                <c:pt idx="1840">
                  <c:v>43950</c:v>
                </c:pt>
                <c:pt idx="1841">
                  <c:v>43951</c:v>
                </c:pt>
                <c:pt idx="1842">
                  <c:v>43955</c:v>
                </c:pt>
                <c:pt idx="1843">
                  <c:v>43956</c:v>
                </c:pt>
                <c:pt idx="1844">
                  <c:v>43957</c:v>
                </c:pt>
                <c:pt idx="1845">
                  <c:v>43958</c:v>
                </c:pt>
                <c:pt idx="1846">
                  <c:v>43959</c:v>
                </c:pt>
                <c:pt idx="1847">
                  <c:v>43963</c:v>
                </c:pt>
                <c:pt idx="1848">
                  <c:v>43964</c:v>
                </c:pt>
                <c:pt idx="1849">
                  <c:v>43965</c:v>
                </c:pt>
                <c:pt idx="1850">
                  <c:v>43966</c:v>
                </c:pt>
                <c:pt idx="1851">
                  <c:v>43969</c:v>
                </c:pt>
                <c:pt idx="1852">
                  <c:v>43970</c:v>
                </c:pt>
                <c:pt idx="1853">
                  <c:v>43971</c:v>
                </c:pt>
                <c:pt idx="1854">
                  <c:v>43972</c:v>
                </c:pt>
                <c:pt idx="1855">
                  <c:v>43973</c:v>
                </c:pt>
                <c:pt idx="1856">
                  <c:v>43976</c:v>
                </c:pt>
                <c:pt idx="1857">
                  <c:v>43977</c:v>
                </c:pt>
                <c:pt idx="1858">
                  <c:v>43978</c:v>
                </c:pt>
                <c:pt idx="1859">
                  <c:v>43979</c:v>
                </c:pt>
                <c:pt idx="1860">
                  <c:v>43980</c:v>
                </c:pt>
                <c:pt idx="1861">
                  <c:v>43983</c:v>
                </c:pt>
                <c:pt idx="1862">
                  <c:v>43984</c:v>
                </c:pt>
                <c:pt idx="1863">
                  <c:v>43985</c:v>
                </c:pt>
                <c:pt idx="1864">
                  <c:v>43986</c:v>
                </c:pt>
                <c:pt idx="1865">
                  <c:v>43987</c:v>
                </c:pt>
                <c:pt idx="1866">
                  <c:v>43990</c:v>
                </c:pt>
                <c:pt idx="1867">
                  <c:v>43991</c:v>
                </c:pt>
                <c:pt idx="1868">
                  <c:v>43992</c:v>
                </c:pt>
                <c:pt idx="1869">
                  <c:v>43993</c:v>
                </c:pt>
                <c:pt idx="1870">
                  <c:v>43997</c:v>
                </c:pt>
                <c:pt idx="1871">
                  <c:v>43998</c:v>
                </c:pt>
                <c:pt idx="1872">
                  <c:v>43999</c:v>
                </c:pt>
                <c:pt idx="1873">
                  <c:v>44000</c:v>
                </c:pt>
                <c:pt idx="1874">
                  <c:v>44001</c:v>
                </c:pt>
                <c:pt idx="1875">
                  <c:v>44004</c:v>
                </c:pt>
                <c:pt idx="1876">
                  <c:v>44005</c:v>
                </c:pt>
                <c:pt idx="1877">
                  <c:v>44007</c:v>
                </c:pt>
                <c:pt idx="1878">
                  <c:v>44008</c:v>
                </c:pt>
                <c:pt idx="1879">
                  <c:v>44011</c:v>
                </c:pt>
                <c:pt idx="1880">
                  <c:v>44012</c:v>
                </c:pt>
                <c:pt idx="1881">
                  <c:v>44014</c:v>
                </c:pt>
                <c:pt idx="1882">
                  <c:v>44015</c:v>
                </c:pt>
                <c:pt idx="1883">
                  <c:v>44018</c:v>
                </c:pt>
                <c:pt idx="1884">
                  <c:v>44019</c:v>
                </c:pt>
                <c:pt idx="1885">
                  <c:v>44020</c:v>
                </c:pt>
                <c:pt idx="1886">
                  <c:v>44021</c:v>
                </c:pt>
                <c:pt idx="1887">
                  <c:v>44022</c:v>
                </c:pt>
                <c:pt idx="1888">
                  <c:v>44025</c:v>
                </c:pt>
                <c:pt idx="1889">
                  <c:v>44026</c:v>
                </c:pt>
                <c:pt idx="1890">
                  <c:v>44027</c:v>
                </c:pt>
                <c:pt idx="1891">
                  <c:v>44028</c:v>
                </c:pt>
                <c:pt idx="1892">
                  <c:v>44029</c:v>
                </c:pt>
                <c:pt idx="1893">
                  <c:v>44032</c:v>
                </c:pt>
                <c:pt idx="1894">
                  <c:v>44033</c:v>
                </c:pt>
                <c:pt idx="1895">
                  <c:v>44034</c:v>
                </c:pt>
                <c:pt idx="1896">
                  <c:v>44035</c:v>
                </c:pt>
                <c:pt idx="1897">
                  <c:v>44036</c:v>
                </c:pt>
                <c:pt idx="1898">
                  <c:v>44039</c:v>
                </c:pt>
                <c:pt idx="1899">
                  <c:v>44040</c:v>
                </c:pt>
                <c:pt idx="1900">
                  <c:v>44041</c:v>
                </c:pt>
                <c:pt idx="1901">
                  <c:v>44042</c:v>
                </c:pt>
                <c:pt idx="1902">
                  <c:v>44043</c:v>
                </c:pt>
                <c:pt idx="1903">
                  <c:v>44046</c:v>
                </c:pt>
                <c:pt idx="1904">
                  <c:v>44047</c:v>
                </c:pt>
                <c:pt idx="1905">
                  <c:v>44048</c:v>
                </c:pt>
                <c:pt idx="1906">
                  <c:v>44049</c:v>
                </c:pt>
                <c:pt idx="1907">
                  <c:v>44050</c:v>
                </c:pt>
                <c:pt idx="1908">
                  <c:v>44053</c:v>
                </c:pt>
                <c:pt idx="1909">
                  <c:v>44054</c:v>
                </c:pt>
                <c:pt idx="1910">
                  <c:v>44055</c:v>
                </c:pt>
                <c:pt idx="1911">
                  <c:v>44056</c:v>
                </c:pt>
                <c:pt idx="1912">
                  <c:v>44057</c:v>
                </c:pt>
                <c:pt idx="1913">
                  <c:v>44060</c:v>
                </c:pt>
                <c:pt idx="1914">
                  <c:v>44061</c:v>
                </c:pt>
                <c:pt idx="1915">
                  <c:v>44062</c:v>
                </c:pt>
                <c:pt idx="1916">
                  <c:v>44063</c:v>
                </c:pt>
                <c:pt idx="1917">
                  <c:v>44064</c:v>
                </c:pt>
                <c:pt idx="1918">
                  <c:v>44067</c:v>
                </c:pt>
                <c:pt idx="1919">
                  <c:v>44068</c:v>
                </c:pt>
                <c:pt idx="1920">
                  <c:v>44069</c:v>
                </c:pt>
                <c:pt idx="1921">
                  <c:v>44070</c:v>
                </c:pt>
                <c:pt idx="1922">
                  <c:v>44071</c:v>
                </c:pt>
                <c:pt idx="1923">
                  <c:v>44074</c:v>
                </c:pt>
                <c:pt idx="1924">
                  <c:v>44075</c:v>
                </c:pt>
                <c:pt idx="1925">
                  <c:v>44076</c:v>
                </c:pt>
                <c:pt idx="1926">
                  <c:v>44077</c:v>
                </c:pt>
                <c:pt idx="1927">
                  <c:v>44078</c:v>
                </c:pt>
                <c:pt idx="1928">
                  <c:v>44081</c:v>
                </c:pt>
                <c:pt idx="1929">
                  <c:v>44082</c:v>
                </c:pt>
                <c:pt idx="1930">
                  <c:v>44083</c:v>
                </c:pt>
                <c:pt idx="1931">
                  <c:v>44084</c:v>
                </c:pt>
                <c:pt idx="1932">
                  <c:v>44085</c:v>
                </c:pt>
                <c:pt idx="1933">
                  <c:v>44088</c:v>
                </c:pt>
                <c:pt idx="1934">
                  <c:v>44089</c:v>
                </c:pt>
                <c:pt idx="1935">
                  <c:v>44090</c:v>
                </c:pt>
                <c:pt idx="1936">
                  <c:v>44091</c:v>
                </c:pt>
                <c:pt idx="1937">
                  <c:v>44092</c:v>
                </c:pt>
                <c:pt idx="1938">
                  <c:v>44095</c:v>
                </c:pt>
                <c:pt idx="1939">
                  <c:v>44096</c:v>
                </c:pt>
                <c:pt idx="1940">
                  <c:v>44097</c:v>
                </c:pt>
                <c:pt idx="1941">
                  <c:v>44098</c:v>
                </c:pt>
                <c:pt idx="1942">
                  <c:v>44099</c:v>
                </c:pt>
                <c:pt idx="1943">
                  <c:v>44102</c:v>
                </c:pt>
                <c:pt idx="1944">
                  <c:v>44103</c:v>
                </c:pt>
                <c:pt idx="1945">
                  <c:v>44104</c:v>
                </c:pt>
                <c:pt idx="1946">
                  <c:v>44105</c:v>
                </c:pt>
                <c:pt idx="1947">
                  <c:v>44106</c:v>
                </c:pt>
                <c:pt idx="1948">
                  <c:v>44109</c:v>
                </c:pt>
                <c:pt idx="1949">
                  <c:v>44110</c:v>
                </c:pt>
                <c:pt idx="1950">
                  <c:v>44111</c:v>
                </c:pt>
                <c:pt idx="1951">
                  <c:v>44112</c:v>
                </c:pt>
                <c:pt idx="1952">
                  <c:v>44113</c:v>
                </c:pt>
                <c:pt idx="1953">
                  <c:v>44116</c:v>
                </c:pt>
                <c:pt idx="1954">
                  <c:v>44117</c:v>
                </c:pt>
                <c:pt idx="1955">
                  <c:v>44118</c:v>
                </c:pt>
                <c:pt idx="1956">
                  <c:v>44119</c:v>
                </c:pt>
                <c:pt idx="1957">
                  <c:v>44120</c:v>
                </c:pt>
                <c:pt idx="1958">
                  <c:v>44123</c:v>
                </c:pt>
                <c:pt idx="1959">
                  <c:v>44124</c:v>
                </c:pt>
                <c:pt idx="1960">
                  <c:v>44125</c:v>
                </c:pt>
                <c:pt idx="1961">
                  <c:v>44126</c:v>
                </c:pt>
                <c:pt idx="1962">
                  <c:v>44127</c:v>
                </c:pt>
                <c:pt idx="1963">
                  <c:v>44130</c:v>
                </c:pt>
                <c:pt idx="1964">
                  <c:v>44131</c:v>
                </c:pt>
                <c:pt idx="1965">
                  <c:v>44132</c:v>
                </c:pt>
                <c:pt idx="1966">
                  <c:v>44133</c:v>
                </c:pt>
                <c:pt idx="1967">
                  <c:v>44134</c:v>
                </c:pt>
                <c:pt idx="1968">
                  <c:v>44137</c:v>
                </c:pt>
                <c:pt idx="1969">
                  <c:v>44138</c:v>
                </c:pt>
                <c:pt idx="1970">
                  <c:v>44140</c:v>
                </c:pt>
                <c:pt idx="1971">
                  <c:v>44141</c:v>
                </c:pt>
                <c:pt idx="1972">
                  <c:v>44144</c:v>
                </c:pt>
                <c:pt idx="1973">
                  <c:v>44145</c:v>
                </c:pt>
                <c:pt idx="1974">
                  <c:v>44146</c:v>
                </c:pt>
                <c:pt idx="1975">
                  <c:v>44147</c:v>
                </c:pt>
                <c:pt idx="1976">
                  <c:v>44148</c:v>
                </c:pt>
                <c:pt idx="1977">
                  <c:v>44151</c:v>
                </c:pt>
                <c:pt idx="1978">
                  <c:v>44152</c:v>
                </c:pt>
                <c:pt idx="1979">
                  <c:v>44153</c:v>
                </c:pt>
                <c:pt idx="1980">
                  <c:v>44154</c:v>
                </c:pt>
                <c:pt idx="1981">
                  <c:v>44155</c:v>
                </c:pt>
                <c:pt idx="1982">
                  <c:v>44158</c:v>
                </c:pt>
                <c:pt idx="1983">
                  <c:v>44159</c:v>
                </c:pt>
                <c:pt idx="1984">
                  <c:v>44160</c:v>
                </c:pt>
                <c:pt idx="1985">
                  <c:v>44161</c:v>
                </c:pt>
                <c:pt idx="1986">
                  <c:v>44162</c:v>
                </c:pt>
                <c:pt idx="1987">
                  <c:v>44165</c:v>
                </c:pt>
                <c:pt idx="1988">
                  <c:v>44166</c:v>
                </c:pt>
                <c:pt idx="1989">
                  <c:v>44167</c:v>
                </c:pt>
                <c:pt idx="1990">
                  <c:v>44168</c:v>
                </c:pt>
                <c:pt idx="1991">
                  <c:v>44169</c:v>
                </c:pt>
                <c:pt idx="1992">
                  <c:v>44172</c:v>
                </c:pt>
                <c:pt idx="1993">
                  <c:v>44173</c:v>
                </c:pt>
                <c:pt idx="1994">
                  <c:v>44174</c:v>
                </c:pt>
                <c:pt idx="1995">
                  <c:v>44175</c:v>
                </c:pt>
                <c:pt idx="1996">
                  <c:v>44176</c:v>
                </c:pt>
                <c:pt idx="1997">
                  <c:v>44179</c:v>
                </c:pt>
                <c:pt idx="1998">
                  <c:v>44180</c:v>
                </c:pt>
                <c:pt idx="1999">
                  <c:v>44181</c:v>
                </c:pt>
                <c:pt idx="2000">
                  <c:v>44182</c:v>
                </c:pt>
                <c:pt idx="2001">
                  <c:v>44183</c:v>
                </c:pt>
                <c:pt idx="2002">
                  <c:v>44186</c:v>
                </c:pt>
                <c:pt idx="2003">
                  <c:v>44187</c:v>
                </c:pt>
                <c:pt idx="2004">
                  <c:v>44188</c:v>
                </c:pt>
                <c:pt idx="2005">
                  <c:v>44189</c:v>
                </c:pt>
                <c:pt idx="2006">
                  <c:v>44190</c:v>
                </c:pt>
                <c:pt idx="2007">
                  <c:v>44193</c:v>
                </c:pt>
                <c:pt idx="2008">
                  <c:v>44194</c:v>
                </c:pt>
                <c:pt idx="2009">
                  <c:v>44195</c:v>
                </c:pt>
                <c:pt idx="2010">
                  <c:v>44200</c:v>
                </c:pt>
                <c:pt idx="2011">
                  <c:v>44201</c:v>
                </c:pt>
                <c:pt idx="2012">
                  <c:v>44202</c:v>
                </c:pt>
                <c:pt idx="2013">
                  <c:v>44204</c:v>
                </c:pt>
                <c:pt idx="2014">
                  <c:v>44207</c:v>
                </c:pt>
                <c:pt idx="2015">
                  <c:v>44208</c:v>
                </c:pt>
                <c:pt idx="2016">
                  <c:v>44209</c:v>
                </c:pt>
                <c:pt idx="2017">
                  <c:v>44210</c:v>
                </c:pt>
                <c:pt idx="2018">
                  <c:v>44211</c:v>
                </c:pt>
                <c:pt idx="2019">
                  <c:v>44214</c:v>
                </c:pt>
                <c:pt idx="2020">
                  <c:v>44215</c:v>
                </c:pt>
                <c:pt idx="2021">
                  <c:v>44216</c:v>
                </c:pt>
                <c:pt idx="2022">
                  <c:v>44217</c:v>
                </c:pt>
                <c:pt idx="2023">
                  <c:v>44218</c:v>
                </c:pt>
                <c:pt idx="2024">
                  <c:v>44221</c:v>
                </c:pt>
                <c:pt idx="2025">
                  <c:v>44222</c:v>
                </c:pt>
                <c:pt idx="2026">
                  <c:v>44223</c:v>
                </c:pt>
                <c:pt idx="2027">
                  <c:v>44224</c:v>
                </c:pt>
                <c:pt idx="2028">
                  <c:v>44225</c:v>
                </c:pt>
                <c:pt idx="2029">
                  <c:v>44228</c:v>
                </c:pt>
                <c:pt idx="2030">
                  <c:v>44229</c:v>
                </c:pt>
                <c:pt idx="2031">
                  <c:v>44230</c:v>
                </c:pt>
                <c:pt idx="2032">
                  <c:v>44231</c:v>
                </c:pt>
                <c:pt idx="2033">
                  <c:v>44232</c:v>
                </c:pt>
                <c:pt idx="2034">
                  <c:v>44235</c:v>
                </c:pt>
                <c:pt idx="2035">
                  <c:v>44236</c:v>
                </c:pt>
                <c:pt idx="2036">
                  <c:v>44237</c:v>
                </c:pt>
                <c:pt idx="2037">
                  <c:v>44238</c:v>
                </c:pt>
                <c:pt idx="2038">
                  <c:v>44239</c:v>
                </c:pt>
                <c:pt idx="2039">
                  <c:v>44242</c:v>
                </c:pt>
                <c:pt idx="2040">
                  <c:v>44243</c:v>
                </c:pt>
                <c:pt idx="2041">
                  <c:v>44244</c:v>
                </c:pt>
                <c:pt idx="2042">
                  <c:v>44245</c:v>
                </c:pt>
                <c:pt idx="2043">
                  <c:v>44246</c:v>
                </c:pt>
                <c:pt idx="2044">
                  <c:v>44247</c:v>
                </c:pt>
                <c:pt idx="2045">
                  <c:v>44249</c:v>
                </c:pt>
                <c:pt idx="2046">
                  <c:v>44251</c:v>
                </c:pt>
                <c:pt idx="2047">
                  <c:v>44252</c:v>
                </c:pt>
                <c:pt idx="2048">
                  <c:v>44253</c:v>
                </c:pt>
                <c:pt idx="2049">
                  <c:v>44256</c:v>
                </c:pt>
                <c:pt idx="2050">
                  <c:v>44257</c:v>
                </c:pt>
                <c:pt idx="2051">
                  <c:v>44258</c:v>
                </c:pt>
                <c:pt idx="2052">
                  <c:v>44259</c:v>
                </c:pt>
                <c:pt idx="2053">
                  <c:v>44260</c:v>
                </c:pt>
                <c:pt idx="2054">
                  <c:v>44264</c:v>
                </c:pt>
                <c:pt idx="2055">
                  <c:v>44265</c:v>
                </c:pt>
                <c:pt idx="2056">
                  <c:v>44266</c:v>
                </c:pt>
                <c:pt idx="2057">
                  <c:v>44267</c:v>
                </c:pt>
                <c:pt idx="2058">
                  <c:v>44270</c:v>
                </c:pt>
                <c:pt idx="2059">
                  <c:v>44271</c:v>
                </c:pt>
                <c:pt idx="2060">
                  <c:v>44272</c:v>
                </c:pt>
                <c:pt idx="2061">
                  <c:v>44273</c:v>
                </c:pt>
                <c:pt idx="2062">
                  <c:v>44274</c:v>
                </c:pt>
                <c:pt idx="2063">
                  <c:v>44277</c:v>
                </c:pt>
                <c:pt idx="2064">
                  <c:v>44278</c:v>
                </c:pt>
                <c:pt idx="2065">
                  <c:v>44279</c:v>
                </c:pt>
                <c:pt idx="2066">
                  <c:v>44280</c:v>
                </c:pt>
                <c:pt idx="2067">
                  <c:v>44281</c:v>
                </c:pt>
                <c:pt idx="2068">
                  <c:v>44284</c:v>
                </c:pt>
                <c:pt idx="2069">
                  <c:v>44285</c:v>
                </c:pt>
                <c:pt idx="2070">
                  <c:v>44286</c:v>
                </c:pt>
                <c:pt idx="2071">
                  <c:v>44287</c:v>
                </c:pt>
                <c:pt idx="2072">
                  <c:v>44288</c:v>
                </c:pt>
                <c:pt idx="2073">
                  <c:v>44291</c:v>
                </c:pt>
                <c:pt idx="2074">
                  <c:v>44292</c:v>
                </c:pt>
                <c:pt idx="2075">
                  <c:v>44293</c:v>
                </c:pt>
                <c:pt idx="2076">
                  <c:v>44294</c:v>
                </c:pt>
                <c:pt idx="2077">
                  <c:v>44295</c:v>
                </c:pt>
                <c:pt idx="2078">
                  <c:v>44298</c:v>
                </c:pt>
                <c:pt idx="2079">
                  <c:v>44299</c:v>
                </c:pt>
                <c:pt idx="2080">
                  <c:v>44300</c:v>
                </c:pt>
                <c:pt idx="2081">
                  <c:v>44301</c:v>
                </c:pt>
                <c:pt idx="2082">
                  <c:v>44302</c:v>
                </c:pt>
                <c:pt idx="2083">
                  <c:v>44305</c:v>
                </c:pt>
                <c:pt idx="2084">
                  <c:v>44306</c:v>
                </c:pt>
                <c:pt idx="2085">
                  <c:v>44307</c:v>
                </c:pt>
                <c:pt idx="2086">
                  <c:v>44308</c:v>
                </c:pt>
                <c:pt idx="2087">
                  <c:v>44309</c:v>
                </c:pt>
                <c:pt idx="2088">
                  <c:v>44312</c:v>
                </c:pt>
                <c:pt idx="2089">
                  <c:v>44313</c:v>
                </c:pt>
                <c:pt idx="2090">
                  <c:v>44314</c:v>
                </c:pt>
                <c:pt idx="2091">
                  <c:v>44315</c:v>
                </c:pt>
                <c:pt idx="2092">
                  <c:v>44316</c:v>
                </c:pt>
                <c:pt idx="2093">
                  <c:v>44320</c:v>
                </c:pt>
                <c:pt idx="2094">
                  <c:v>44321</c:v>
                </c:pt>
                <c:pt idx="2095">
                  <c:v>44322</c:v>
                </c:pt>
                <c:pt idx="2096">
                  <c:v>44323</c:v>
                </c:pt>
                <c:pt idx="2097">
                  <c:v>44326</c:v>
                </c:pt>
                <c:pt idx="2098">
                  <c:v>44327</c:v>
                </c:pt>
                <c:pt idx="2099">
                  <c:v>44328</c:v>
                </c:pt>
                <c:pt idx="2100">
                  <c:v>44329</c:v>
                </c:pt>
                <c:pt idx="2101">
                  <c:v>44330</c:v>
                </c:pt>
                <c:pt idx="2102">
                  <c:v>44333</c:v>
                </c:pt>
                <c:pt idx="2103">
                  <c:v>44334</c:v>
                </c:pt>
                <c:pt idx="2104">
                  <c:v>44335</c:v>
                </c:pt>
                <c:pt idx="2105">
                  <c:v>44336</c:v>
                </c:pt>
                <c:pt idx="2106">
                  <c:v>44337</c:v>
                </c:pt>
                <c:pt idx="2107">
                  <c:v>44340</c:v>
                </c:pt>
                <c:pt idx="2108">
                  <c:v>44341</c:v>
                </c:pt>
                <c:pt idx="2109">
                  <c:v>44342</c:v>
                </c:pt>
                <c:pt idx="2110">
                  <c:v>44343</c:v>
                </c:pt>
                <c:pt idx="2111">
                  <c:v>44344</c:v>
                </c:pt>
                <c:pt idx="2112">
                  <c:v>44347</c:v>
                </c:pt>
                <c:pt idx="2113">
                  <c:v>44348</c:v>
                </c:pt>
                <c:pt idx="2114">
                  <c:v>44349</c:v>
                </c:pt>
                <c:pt idx="2115">
                  <c:v>44350</c:v>
                </c:pt>
                <c:pt idx="2116">
                  <c:v>44351</c:v>
                </c:pt>
                <c:pt idx="2117">
                  <c:v>44354</c:v>
                </c:pt>
                <c:pt idx="2118">
                  <c:v>44355</c:v>
                </c:pt>
                <c:pt idx="2119">
                  <c:v>44356</c:v>
                </c:pt>
                <c:pt idx="2120">
                  <c:v>44357</c:v>
                </c:pt>
                <c:pt idx="2121">
                  <c:v>44358</c:v>
                </c:pt>
                <c:pt idx="2122">
                  <c:v>44361</c:v>
                </c:pt>
                <c:pt idx="2123">
                  <c:v>44362</c:v>
                </c:pt>
                <c:pt idx="2124">
                  <c:v>44363</c:v>
                </c:pt>
                <c:pt idx="2125">
                  <c:v>44364</c:v>
                </c:pt>
                <c:pt idx="2126">
                  <c:v>44365</c:v>
                </c:pt>
                <c:pt idx="2127">
                  <c:v>44368</c:v>
                </c:pt>
                <c:pt idx="2128">
                  <c:v>44369</c:v>
                </c:pt>
                <c:pt idx="2129">
                  <c:v>44370</c:v>
                </c:pt>
                <c:pt idx="2130">
                  <c:v>44371</c:v>
                </c:pt>
                <c:pt idx="2131">
                  <c:v>44372</c:v>
                </c:pt>
                <c:pt idx="2132">
                  <c:v>44375</c:v>
                </c:pt>
                <c:pt idx="2133">
                  <c:v>44376</c:v>
                </c:pt>
                <c:pt idx="2134">
                  <c:v>44377</c:v>
                </c:pt>
                <c:pt idx="2135">
                  <c:v>44378</c:v>
                </c:pt>
                <c:pt idx="2136">
                  <c:v>44379</c:v>
                </c:pt>
                <c:pt idx="2137">
                  <c:v>44382</c:v>
                </c:pt>
                <c:pt idx="2138">
                  <c:v>44383</c:v>
                </c:pt>
                <c:pt idx="2139">
                  <c:v>44384</c:v>
                </c:pt>
                <c:pt idx="2140">
                  <c:v>44385</c:v>
                </c:pt>
                <c:pt idx="2141">
                  <c:v>44386</c:v>
                </c:pt>
                <c:pt idx="2142">
                  <c:v>44389</c:v>
                </c:pt>
                <c:pt idx="2143">
                  <c:v>44390</c:v>
                </c:pt>
                <c:pt idx="2144">
                  <c:v>44391</c:v>
                </c:pt>
                <c:pt idx="2145">
                  <c:v>44392</c:v>
                </c:pt>
                <c:pt idx="2146">
                  <c:v>44393</c:v>
                </c:pt>
                <c:pt idx="2147">
                  <c:v>44396</c:v>
                </c:pt>
                <c:pt idx="2148">
                  <c:v>44397</c:v>
                </c:pt>
                <c:pt idx="2149">
                  <c:v>44398</c:v>
                </c:pt>
              </c:numCache>
            </c:numRef>
          </c:cat>
          <c:val>
            <c:numRef>
              <c:f>Sheet1!$T$9:$T$2158</c:f>
              <c:numCache>
                <c:formatCode>General</c:formatCode>
                <c:ptCount val="2150"/>
                <c:pt idx="0">
                  <c:v>4.2862530000000003</c:v>
                </c:pt>
                <c:pt idx="1">
                  <c:v>4.4744229999999998</c:v>
                </c:pt>
                <c:pt idx="2">
                  <c:v>4.3267579999999999</c:v>
                </c:pt>
                <c:pt idx="3">
                  <c:v>3.8225929999999999</c:v>
                </c:pt>
                <c:pt idx="4">
                  <c:v>4.9015380000000004</c:v>
                </c:pt>
                <c:pt idx="5">
                  <c:v>5.0973769999999998</c:v>
                </c:pt>
                <c:pt idx="6">
                  <c:v>5.4211489999999998</c:v>
                </c:pt>
                <c:pt idx="7">
                  <c:v>4.049436</c:v>
                </c:pt>
                <c:pt idx="8">
                  <c:v>2.3529689999999999</c:v>
                </c:pt>
                <c:pt idx="9">
                  <c:v>4.7948269999999997</c:v>
                </c:pt>
                <c:pt idx="10">
                  <c:v>3.5249290000000002</c:v>
                </c:pt>
                <c:pt idx="11">
                  <c:v>3.6580979999999998</c:v>
                </c:pt>
                <c:pt idx="12">
                  <c:v>4.6585000000000001</c:v>
                </c:pt>
                <c:pt idx="13">
                  <c:v>4.826892</c:v>
                </c:pt>
                <c:pt idx="14">
                  <c:v>4.3339150000000002</c:v>
                </c:pt>
                <c:pt idx="15">
                  <c:v>4.0118559999999999</c:v>
                </c:pt>
                <c:pt idx="16">
                  <c:v>3.6021610000000002</c:v>
                </c:pt>
                <c:pt idx="17">
                  <c:v>4.4577549999999997</c:v>
                </c:pt>
                <c:pt idx="18">
                  <c:v>3.403715</c:v>
                </c:pt>
                <c:pt idx="19">
                  <c:v>5.0175609999999997</c:v>
                </c:pt>
                <c:pt idx="20">
                  <c:v>5.5958579999999998</c:v>
                </c:pt>
                <c:pt idx="21">
                  <c:v>3.7122830000000002</c:v>
                </c:pt>
                <c:pt idx="22">
                  <c:v>3.649152</c:v>
                </c:pt>
                <c:pt idx="23">
                  <c:v>2.1858339999999998</c:v>
                </c:pt>
                <c:pt idx="24">
                  <c:v>3.2907609999999998</c:v>
                </c:pt>
                <c:pt idx="25">
                  <c:v>3.0983510000000001</c:v>
                </c:pt>
                <c:pt idx="26">
                  <c:v>4.0808090000000004</c:v>
                </c:pt>
                <c:pt idx="27">
                  <c:v>2.8367710000000002</c:v>
                </c:pt>
                <c:pt idx="28">
                  <c:v>1.837132</c:v>
                </c:pt>
                <c:pt idx="29">
                  <c:v>2.7490860000000001</c:v>
                </c:pt>
                <c:pt idx="30">
                  <c:v>3.2315420000000001</c:v>
                </c:pt>
                <c:pt idx="31">
                  <c:v>7.9580419999999998</c:v>
                </c:pt>
                <c:pt idx="32">
                  <c:v>4.2251899999999996</c:v>
                </c:pt>
                <c:pt idx="33">
                  <c:v>3.74329</c:v>
                </c:pt>
                <c:pt idx="34">
                  <c:v>5.1286810000000003</c:v>
                </c:pt>
                <c:pt idx="35">
                  <c:v>3.8885939999999999</c:v>
                </c:pt>
                <c:pt idx="36">
                  <c:v>3.3786480000000001</c:v>
                </c:pt>
                <c:pt idx="37">
                  <c:v>4.1422119999999998</c:v>
                </c:pt>
                <c:pt idx="38">
                  <c:v>3.399635</c:v>
                </c:pt>
                <c:pt idx="39">
                  <c:v>4.2639060000000004</c:v>
                </c:pt>
                <c:pt idx="40">
                  <c:v>3.714159</c:v>
                </c:pt>
                <c:pt idx="41">
                  <c:v>3.490748</c:v>
                </c:pt>
                <c:pt idx="42">
                  <c:v>3.2782119999999999</c:v>
                </c:pt>
                <c:pt idx="43">
                  <c:v>3.6738590000000002</c:v>
                </c:pt>
                <c:pt idx="44">
                  <c:v>4.3347329999999999</c:v>
                </c:pt>
                <c:pt idx="45">
                  <c:v>5.0214210000000001</c:v>
                </c:pt>
                <c:pt idx="46">
                  <c:v>3.5214539999999999</c:v>
                </c:pt>
                <c:pt idx="47">
                  <c:v>4.7474790000000002</c:v>
                </c:pt>
                <c:pt idx="48">
                  <c:v>4.0839259999999999</c:v>
                </c:pt>
                <c:pt idx="49">
                  <c:v>4.8304790000000004</c:v>
                </c:pt>
                <c:pt idx="50">
                  <c:v>4.12338</c:v>
                </c:pt>
                <c:pt idx="51">
                  <c:v>3.9355639999999998</c:v>
                </c:pt>
                <c:pt idx="52">
                  <c:v>4.3188329999999997</c:v>
                </c:pt>
                <c:pt idx="53">
                  <c:v>3.5539749999999999</c:v>
                </c:pt>
                <c:pt idx="54">
                  <c:v>5.6228749999999996</c:v>
                </c:pt>
                <c:pt idx="55">
                  <c:v>4.9201129999999997</c:v>
                </c:pt>
                <c:pt idx="56">
                  <c:v>2.2699509999999998</c:v>
                </c:pt>
                <c:pt idx="57">
                  <c:v>2.3636590000000002</c:v>
                </c:pt>
                <c:pt idx="58">
                  <c:v>5.7677040000000002</c:v>
                </c:pt>
                <c:pt idx="59">
                  <c:v>6.8450379999999997</c:v>
                </c:pt>
                <c:pt idx="60">
                  <c:v>7.1373179999999996</c:v>
                </c:pt>
                <c:pt idx="61">
                  <c:v>5.121556</c:v>
                </c:pt>
                <c:pt idx="62">
                  <c:v>6.7952260000000004</c:v>
                </c:pt>
                <c:pt idx="63">
                  <c:v>4.4883189999999997</c:v>
                </c:pt>
                <c:pt idx="64">
                  <c:v>5.451568</c:v>
                </c:pt>
                <c:pt idx="65">
                  <c:v>4.6803330000000001</c:v>
                </c:pt>
                <c:pt idx="66">
                  <c:v>4.6604190000000001</c:v>
                </c:pt>
                <c:pt idx="67">
                  <c:v>6.6690449999999997</c:v>
                </c:pt>
                <c:pt idx="68">
                  <c:v>6.0128240000000002</c:v>
                </c:pt>
                <c:pt idx="69">
                  <c:v>8.3616469999999996</c:v>
                </c:pt>
                <c:pt idx="70">
                  <c:v>6.6328589999999998</c:v>
                </c:pt>
                <c:pt idx="71">
                  <c:v>5.2148960000000004</c:v>
                </c:pt>
                <c:pt idx="72">
                  <c:v>5.2963690000000003</c:v>
                </c:pt>
                <c:pt idx="73">
                  <c:v>5.1017010000000003</c:v>
                </c:pt>
                <c:pt idx="74">
                  <c:v>5.9198979999999999</c:v>
                </c:pt>
                <c:pt idx="75">
                  <c:v>8.1137700000000006</c:v>
                </c:pt>
                <c:pt idx="76">
                  <c:v>4.6888129999999997</c:v>
                </c:pt>
                <c:pt idx="77">
                  <c:v>5.1528219999999996</c:v>
                </c:pt>
                <c:pt idx="78">
                  <c:v>3.4287709999999998</c:v>
                </c:pt>
                <c:pt idx="79">
                  <c:v>0.74323099999999998</c:v>
                </c:pt>
                <c:pt idx="80">
                  <c:v>0.60550800000000005</c:v>
                </c:pt>
                <c:pt idx="81">
                  <c:v>2.1369739999999999</c:v>
                </c:pt>
                <c:pt idx="82">
                  <c:v>3.0823230000000001</c:v>
                </c:pt>
                <c:pt idx="83">
                  <c:v>2.3119100000000001</c:v>
                </c:pt>
                <c:pt idx="84">
                  <c:v>0.493336</c:v>
                </c:pt>
                <c:pt idx="85">
                  <c:v>4.4348809999999999</c:v>
                </c:pt>
                <c:pt idx="86">
                  <c:v>4.2329340000000002</c:v>
                </c:pt>
                <c:pt idx="87">
                  <c:v>4.3971280000000004</c:v>
                </c:pt>
                <c:pt idx="88">
                  <c:v>3.7089729999999999</c:v>
                </c:pt>
                <c:pt idx="89">
                  <c:v>3.8898790000000001</c:v>
                </c:pt>
                <c:pt idx="90">
                  <c:v>4.2034019999999996</c:v>
                </c:pt>
                <c:pt idx="91">
                  <c:v>4.2948000000000004</c:v>
                </c:pt>
                <c:pt idx="92">
                  <c:v>3.6929460000000001</c:v>
                </c:pt>
                <c:pt idx="93">
                  <c:v>6.4906800000000002</c:v>
                </c:pt>
                <c:pt idx="94">
                  <c:v>4.4068569999999996</c:v>
                </c:pt>
                <c:pt idx="95">
                  <c:v>2.4613879999999999</c:v>
                </c:pt>
                <c:pt idx="96">
                  <c:v>4.2716500000000002</c:v>
                </c:pt>
                <c:pt idx="97">
                  <c:v>5.5601859999999999</c:v>
                </c:pt>
                <c:pt idx="98">
                  <c:v>6.5973040000000003</c:v>
                </c:pt>
                <c:pt idx="99">
                  <c:v>6.236313</c:v>
                </c:pt>
                <c:pt idx="100">
                  <c:v>6.7304279999999999</c:v>
                </c:pt>
                <c:pt idx="101">
                  <c:v>4.3431839999999999</c:v>
                </c:pt>
                <c:pt idx="102">
                  <c:v>6.0161790000000002</c:v>
                </c:pt>
                <c:pt idx="103">
                  <c:v>5.3920000000000003</c:v>
                </c:pt>
                <c:pt idx="104">
                  <c:v>5.4337549999999997</c:v>
                </c:pt>
                <c:pt idx="105">
                  <c:v>4.1959530000000003</c:v>
                </c:pt>
                <c:pt idx="106">
                  <c:v>5.9641590000000004</c:v>
                </c:pt>
                <c:pt idx="107">
                  <c:v>5.5281960000000003</c:v>
                </c:pt>
                <c:pt idx="108">
                  <c:v>5.9750370000000004</c:v>
                </c:pt>
                <c:pt idx="109">
                  <c:v>5.828646</c:v>
                </c:pt>
                <c:pt idx="110">
                  <c:v>5.6959439999999999</c:v>
                </c:pt>
                <c:pt idx="111">
                  <c:v>5.009563</c:v>
                </c:pt>
                <c:pt idx="112">
                  <c:v>8.4248580000000004</c:v>
                </c:pt>
                <c:pt idx="113">
                  <c:v>7.175446</c:v>
                </c:pt>
                <c:pt idx="114">
                  <c:v>5.7145149999999996</c:v>
                </c:pt>
                <c:pt idx="115">
                  <c:v>4.9130900000000004</c:v>
                </c:pt>
                <c:pt idx="116">
                  <c:v>5.2392200000000004</c:v>
                </c:pt>
                <c:pt idx="117">
                  <c:v>5.1753729999999996</c:v>
                </c:pt>
                <c:pt idx="118">
                  <c:v>5.1625459999999999</c:v>
                </c:pt>
                <c:pt idx="119">
                  <c:v>4.1674480000000003</c:v>
                </c:pt>
                <c:pt idx="120">
                  <c:v>4.8410409999999997</c:v>
                </c:pt>
                <c:pt idx="121">
                  <c:v>4.8946120000000004</c:v>
                </c:pt>
                <c:pt idx="122">
                  <c:v>3.2280989999999998</c:v>
                </c:pt>
                <c:pt idx="123">
                  <c:v>5.010694</c:v>
                </c:pt>
                <c:pt idx="124">
                  <c:v>2.5707270000000002</c:v>
                </c:pt>
                <c:pt idx="125">
                  <c:v>4.8042480000000003</c:v>
                </c:pt>
                <c:pt idx="126">
                  <c:v>3.864322</c:v>
                </c:pt>
                <c:pt idx="127">
                  <c:v>4.6513780000000002</c:v>
                </c:pt>
                <c:pt idx="128">
                  <c:v>4.6582299999999996</c:v>
                </c:pt>
                <c:pt idx="129">
                  <c:v>2.9321990000000002</c:v>
                </c:pt>
                <c:pt idx="130">
                  <c:v>5.2247719999999997</c:v>
                </c:pt>
                <c:pt idx="131">
                  <c:v>4.1268700000000003</c:v>
                </c:pt>
                <c:pt idx="132">
                  <c:v>3.975924</c:v>
                </c:pt>
                <c:pt idx="133">
                  <c:v>3.6410390000000001</c:v>
                </c:pt>
                <c:pt idx="134">
                  <c:v>4.1479530000000002</c:v>
                </c:pt>
                <c:pt idx="135">
                  <c:v>3.3959920000000001</c:v>
                </c:pt>
                <c:pt idx="136">
                  <c:v>3.1025680000000002</c:v>
                </c:pt>
                <c:pt idx="137">
                  <c:v>4.9468740000000002</c:v>
                </c:pt>
                <c:pt idx="138">
                  <c:v>3.8748879999999999</c:v>
                </c:pt>
                <c:pt idx="139">
                  <c:v>3.6900909999999998</c:v>
                </c:pt>
                <c:pt idx="140">
                  <c:v>3.0130530000000002</c:v>
                </c:pt>
                <c:pt idx="141">
                  <c:v>3.619348</c:v>
                </c:pt>
                <c:pt idx="142">
                  <c:v>3.9261780000000002</c:v>
                </c:pt>
                <c:pt idx="143">
                  <c:v>3.8776480000000002</c:v>
                </c:pt>
                <c:pt idx="144">
                  <c:v>2.156377</c:v>
                </c:pt>
                <c:pt idx="145">
                  <c:v>2.6948949999999998</c:v>
                </c:pt>
                <c:pt idx="146">
                  <c:v>3.4766970000000001</c:v>
                </c:pt>
                <c:pt idx="147">
                  <c:v>2.4218600000000001</c:v>
                </c:pt>
                <c:pt idx="148">
                  <c:v>2.629524</c:v>
                </c:pt>
                <c:pt idx="149">
                  <c:v>2.7523949999999999</c:v>
                </c:pt>
                <c:pt idx="150">
                  <c:v>3.3906480000000001</c:v>
                </c:pt>
                <c:pt idx="151">
                  <c:v>4.3786620000000003</c:v>
                </c:pt>
                <c:pt idx="152">
                  <c:v>4.8224900000000002</c:v>
                </c:pt>
                <c:pt idx="153">
                  <c:v>2.8526210000000001</c:v>
                </c:pt>
                <c:pt idx="154">
                  <c:v>2.6750620000000001</c:v>
                </c:pt>
                <c:pt idx="155">
                  <c:v>3.1832340000000001</c:v>
                </c:pt>
                <c:pt idx="156">
                  <c:v>3.6943250000000001</c:v>
                </c:pt>
                <c:pt idx="157">
                  <c:v>4.4781000000000004</c:v>
                </c:pt>
                <c:pt idx="158">
                  <c:v>3.3124310000000001</c:v>
                </c:pt>
                <c:pt idx="159">
                  <c:v>3.1542249999999998</c:v>
                </c:pt>
                <c:pt idx="160">
                  <c:v>5.0759439999999998</c:v>
                </c:pt>
                <c:pt idx="161">
                  <c:v>4.4056670000000002</c:v>
                </c:pt>
                <c:pt idx="162">
                  <c:v>4.0225049999999998</c:v>
                </c:pt>
                <c:pt idx="163">
                  <c:v>2.7740840000000002</c:v>
                </c:pt>
                <c:pt idx="164">
                  <c:v>2.2320509999999998</c:v>
                </c:pt>
                <c:pt idx="165">
                  <c:v>3.9499939999999998</c:v>
                </c:pt>
                <c:pt idx="166">
                  <c:v>3.8970889999999998</c:v>
                </c:pt>
                <c:pt idx="167">
                  <c:v>3.8335029999999999</c:v>
                </c:pt>
                <c:pt idx="168">
                  <c:v>4.1799609999999996</c:v>
                </c:pt>
                <c:pt idx="169">
                  <c:v>4.1342949999999998</c:v>
                </c:pt>
                <c:pt idx="170">
                  <c:v>5.3068289999999996</c:v>
                </c:pt>
                <c:pt idx="171">
                  <c:v>5.4646229999999996</c:v>
                </c:pt>
                <c:pt idx="172">
                  <c:v>5.4809460000000003</c:v>
                </c:pt>
                <c:pt idx="173">
                  <c:v>4.7996499999999997</c:v>
                </c:pt>
                <c:pt idx="174">
                  <c:v>5.4525920000000001</c:v>
                </c:pt>
                <c:pt idx="175">
                  <c:v>3.767414</c:v>
                </c:pt>
                <c:pt idx="176">
                  <c:v>3.453166</c:v>
                </c:pt>
                <c:pt idx="177">
                  <c:v>6.4910410000000001</c:v>
                </c:pt>
                <c:pt idx="178">
                  <c:v>4.816961</c:v>
                </c:pt>
                <c:pt idx="179">
                  <c:v>5.2760020000000001</c:v>
                </c:pt>
                <c:pt idx="180">
                  <c:v>4.1476420000000003</c:v>
                </c:pt>
                <c:pt idx="181">
                  <c:v>4.1064090000000002</c:v>
                </c:pt>
                <c:pt idx="182">
                  <c:v>4.3075109999999999</c:v>
                </c:pt>
                <c:pt idx="183">
                  <c:v>5.2128589999999999</c:v>
                </c:pt>
                <c:pt idx="184">
                  <c:v>3.8311540000000002</c:v>
                </c:pt>
                <c:pt idx="185">
                  <c:v>3.949722</c:v>
                </c:pt>
                <c:pt idx="186">
                  <c:v>3.9242810000000001</c:v>
                </c:pt>
                <c:pt idx="187">
                  <c:v>3.4751590000000001</c:v>
                </c:pt>
                <c:pt idx="188">
                  <c:v>2.789911</c:v>
                </c:pt>
                <c:pt idx="189">
                  <c:v>3.5060259999999999</c:v>
                </c:pt>
                <c:pt idx="190">
                  <c:v>3.7246610000000002</c:v>
                </c:pt>
                <c:pt idx="191">
                  <c:v>3.778851</c:v>
                </c:pt>
                <c:pt idx="192">
                  <c:v>3.1882359999999998</c:v>
                </c:pt>
                <c:pt idx="193">
                  <c:v>2.7071360000000002</c:v>
                </c:pt>
                <c:pt idx="194">
                  <c:v>1.93906</c:v>
                </c:pt>
                <c:pt idx="195">
                  <c:v>3.229514</c:v>
                </c:pt>
                <c:pt idx="196">
                  <c:v>2.470529</c:v>
                </c:pt>
                <c:pt idx="197">
                  <c:v>4.1138820000000003</c:v>
                </c:pt>
                <c:pt idx="198">
                  <c:v>3.2283379999999999</c:v>
                </c:pt>
                <c:pt idx="199">
                  <c:v>2.6012219999999999</c:v>
                </c:pt>
                <c:pt idx="200">
                  <c:v>3.757746</c:v>
                </c:pt>
                <c:pt idx="201">
                  <c:v>3.7335310000000002</c:v>
                </c:pt>
                <c:pt idx="202">
                  <c:v>4.3182689999999999</c:v>
                </c:pt>
                <c:pt idx="203">
                  <c:v>4.5298319999999999</c:v>
                </c:pt>
                <c:pt idx="204">
                  <c:v>2.2017190000000002</c:v>
                </c:pt>
                <c:pt idx="205">
                  <c:v>4.7008340000000004</c:v>
                </c:pt>
                <c:pt idx="206">
                  <c:v>3.561258</c:v>
                </c:pt>
                <c:pt idx="207">
                  <c:v>3.8040759999999998</c:v>
                </c:pt>
                <c:pt idx="208">
                  <c:v>4.4564389999999996</c:v>
                </c:pt>
                <c:pt idx="209">
                  <c:v>3.657206</c:v>
                </c:pt>
                <c:pt idx="210">
                  <c:v>4.2329239999999997</c:v>
                </c:pt>
                <c:pt idx="211">
                  <c:v>4.9644240000000002</c:v>
                </c:pt>
                <c:pt idx="212">
                  <c:v>5.7037639999999996</c:v>
                </c:pt>
                <c:pt idx="213">
                  <c:v>2.6070799999999998</c:v>
                </c:pt>
                <c:pt idx="214">
                  <c:v>4.2834240000000001</c:v>
                </c:pt>
                <c:pt idx="215">
                  <c:v>4.1298469999999998</c:v>
                </c:pt>
                <c:pt idx="216">
                  <c:v>4.2226980000000003</c:v>
                </c:pt>
                <c:pt idx="217">
                  <c:v>3.1417000000000002</c:v>
                </c:pt>
                <c:pt idx="218">
                  <c:v>2.901478</c:v>
                </c:pt>
                <c:pt idx="219">
                  <c:v>4.1203919999999998</c:v>
                </c:pt>
                <c:pt idx="220">
                  <c:v>4.9202630000000003</c:v>
                </c:pt>
                <c:pt idx="221">
                  <c:v>4.2476820000000002</c:v>
                </c:pt>
                <c:pt idx="222">
                  <c:v>4.2060659999999999</c:v>
                </c:pt>
                <c:pt idx="223">
                  <c:v>5.603815</c:v>
                </c:pt>
                <c:pt idx="224">
                  <c:v>3.5528870000000001</c:v>
                </c:pt>
                <c:pt idx="225">
                  <c:v>4.6388030000000002</c:v>
                </c:pt>
                <c:pt idx="226">
                  <c:v>2.9054440000000001</c:v>
                </c:pt>
                <c:pt idx="227">
                  <c:v>3.3303889999999998</c:v>
                </c:pt>
                <c:pt idx="228">
                  <c:v>3.6987220000000001</c:v>
                </c:pt>
                <c:pt idx="229">
                  <c:v>3.2089470000000002</c:v>
                </c:pt>
                <c:pt idx="230">
                  <c:v>3.9023569999999999</c:v>
                </c:pt>
                <c:pt idx="231">
                  <c:v>5.826422</c:v>
                </c:pt>
                <c:pt idx="232">
                  <c:v>4.495908</c:v>
                </c:pt>
                <c:pt idx="233">
                  <c:v>3.7525050000000002</c:v>
                </c:pt>
                <c:pt idx="234">
                  <c:v>5.2336489999999998</c:v>
                </c:pt>
                <c:pt idx="235">
                  <c:v>3.350533</c:v>
                </c:pt>
                <c:pt idx="236">
                  <c:v>4.7167820000000003</c:v>
                </c:pt>
                <c:pt idx="237">
                  <c:v>3.2313670000000001</c:v>
                </c:pt>
                <c:pt idx="238">
                  <c:v>3.0473270000000001</c:v>
                </c:pt>
                <c:pt idx="239">
                  <c:v>3.3796900000000001</c:v>
                </c:pt>
                <c:pt idx="240">
                  <c:v>2.7346180000000002</c:v>
                </c:pt>
                <c:pt idx="241">
                  <c:v>4.1363570000000003</c:v>
                </c:pt>
                <c:pt idx="242">
                  <c:v>4.0125000000000002</c:v>
                </c:pt>
                <c:pt idx="243">
                  <c:v>5.3851979999999999</c:v>
                </c:pt>
                <c:pt idx="244">
                  <c:v>4.30769</c:v>
                </c:pt>
                <c:pt idx="245">
                  <c:v>2.8005490000000002</c:v>
                </c:pt>
                <c:pt idx="246">
                  <c:v>3.1508600000000002</c:v>
                </c:pt>
                <c:pt idx="247">
                  <c:v>5.5227589999999998</c:v>
                </c:pt>
                <c:pt idx="248">
                  <c:v>2.8285459999999998</c:v>
                </c:pt>
                <c:pt idx="249">
                  <c:v>0.58535700000000002</c:v>
                </c:pt>
                <c:pt idx="250">
                  <c:v>0.489923</c:v>
                </c:pt>
                <c:pt idx="251">
                  <c:v>3.804017</c:v>
                </c:pt>
                <c:pt idx="252">
                  <c:v>3.4665599999999999</c:v>
                </c:pt>
                <c:pt idx="253">
                  <c:v>4.3247549999999997</c:v>
                </c:pt>
                <c:pt idx="254">
                  <c:v>5.2690890000000001</c:v>
                </c:pt>
                <c:pt idx="255">
                  <c:v>5.0537739999999998</c:v>
                </c:pt>
                <c:pt idx="256">
                  <c:v>3.3521230000000002</c:v>
                </c:pt>
                <c:pt idx="257">
                  <c:v>4.5641790000000002</c:v>
                </c:pt>
                <c:pt idx="258">
                  <c:v>3.819807</c:v>
                </c:pt>
                <c:pt idx="259">
                  <c:v>6.2212139999999998</c:v>
                </c:pt>
                <c:pt idx="260">
                  <c:v>3.8942000000000001</c:v>
                </c:pt>
                <c:pt idx="261">
                  <c:v>6.3896259999999998</c:v>
                </c:pt>
                <c:pt idx="262">
                  <c:v>7.6503819999999996</c:v>
                </c:pt>
                <c:pt idx="263">
                  <c:v>7.5615750000000004</c:v>
                </c:pt>
                <c:pt idx="264">
                  <c:v>6.8728619999999996</c:v>
                </c:pt>
                <c:pt idx="265">
                  <c:v>10.556445999999999</c:v>
                </c:pt>
                <c:pt idx="266">
                  <c:v>9.8585440000000002</c:v>
                </c:pt>
                <c:pt idx="267">
                  <c:v>6.6081640000000004</c:v>
                </c:pt>
                <c:pt idx="268">
                  <c:v>4.4445259999999998</c:v>
                </c:pt>
                <c:pt idx="269">
                  <c:v>6.0888270000000002</c:v>
                </c:pt>
                <c:pt idx="270">
                  <c:v>8.3963590000000003</c:v>
                </c:pt>
                <c:pt idx="271">
                  <c:v>4.6588050000000001</c:v>
                </c:pt>
                <c:pt idx="272">
                  <c:v>4.4913119999999997</c:v>
                </c:pt>
                <c:pt idx="273">
                  <c:v>4.9361360000000003</c:v>
                </c:pt>
                <c:pt idx="274">
                  <c:v>4.6372520000000002</c:v>
                </c:pt>
                <c:pt idx="275">
                  <c:v>3.8003089999999999</c:v>
                </c:pt>
                <c:pt idx="276">
                  <c:v>7.0673360000000001</c:v>
                </c:pt>
                <c:pt idx="277">
                  <c:v>6.4966619999999997</c:v>
                </c:pt>
                <c:pt idx="278">
                  <c:v>3.7117589999999998</c:v>
                </c:pt>
                <c:pt idx="279">
                  <c:v>4.7502339999999998</c:v>
                </c:pt>
                <c:pt idx="280">
                  <c:v>6.072298</c:v>
                </c:pt>
                <c:pt idx="281">
                  <c:v>5.2050419999999997</c:v>
                </c:pt>
                <c:pt idx="282">
                  <c:v>5.8007790000000004</c:v>
                </c:pt>
                <c:pt idx="283">
                  <c:v>5.6007459839999996</c:v>
                </c:pt>
                <c:pt idx="284">
                  <c:v>3.6769331200000002</c:v>
                </c:pt>
                <c:pt idx="285">
                  <c:v>5.8052210000000004</c:v>
                </c:pt>
                <c:pt idx="286">
                  <c:v>6.9641400000000004</c:v>
                </c:pt>
                <c:pt idx="287">
                  <c:v>8.4314400000000003</c:v>
                </c:pt>
                <c:pt idx="288">
                  <c:v>17.394392</c:v>
                </c:pt>
                <c:pt idx="289">
                  <c:v>7.3280839999999996</c:v>
                </c:pt>
                <c:pt idx="290">
                  <c:v>4.744326</c:v>
                </c:pt>
                <c:pt idx="291">
                  <c:v>6.0329509999999997</c:v>
                </c:pt>
                <c:pt idx="292">
                  <c:v>3.6825779999999999</c:v>
                </c:pt>
                <c:pt idx="293">
                  <c:v>3.0575329999999998</c:v>
                </c:pt>
                <c:pt idx="294">
                  <c:v>5.19482</c:v>
                </c:pt>
                <c:pt idx="295">
                  <c:v>4.5545400000000003</c:v>
                </c:pt>
                <c:pt idx="296">
                  <c:v>7.889278</c:v>
                </c:pt>
                <c:pt idx="297">
                  <c:v>6.0753700000000004</c:v>
                </c:pt>
                <c:pt idx="298">
                  <c:v>5.9245429999999999</c:v>
                </c:pt>
                <c:pt idx="299">
                  <c:v>7.074211</c:v>
                </c:pt>
                <c:pt idx="300">
                  <c:v>5.474869</c:v>
                </c:pt>
                <c:pt idx="301">
                  <c:v>6.0034939999999999</c:v>
                </c:pt>
                <c:pt idx="302">
                  <c:v>3.981293</c:v>
                </c:pt>
                <c:pt idx="303">
                  <c:v>7.406174</c:v>
                </c:pt>
                <c:pt idx="304">
                  <c:v>5.2854850000000004</c:v>
                </c:pt>
                <c:pt idx="305">
                  <c:v>5.5901969999999999</c:v>
                </c:pt>
                <c:pt idx="306">
                  <c:v>4.6243999999999996</c:v>
                </c:pt>
                <c:pt idx="307">
                  <c:v>6.2775080000000001</c:v>
                </c:pt>
                <c:pt idx="308">
                  <c:v>5.1850709999999998</c:v>
                </c:pt>
                <c:pt idx="309">
                  <c:v>4.6712590000000001</c:v>
                </c:pt>
                <c:pt idx="310">
                  <c:v>3.7461159999999998</c:v>
                </c:pt>
                <c:pt idx="311">
                  <c:v>4.3648230000000003</c:v>
                </c:pt>
                <c:pt idx="312">
                  <c:v>5.2604300000000004</c:v>
                </c:pt>
                <c:pt idx="313">
                  <c:v>7.2095190000000002</c:v>
                </c:pt>
                <c:pt idx="314">
                  <c:v>4.4848220000000003</c:v>
                </c:pt>
                <c:pt idx="315">
                  <c:v>3.5248029999999999</c:v>
                </c:pt>
                <c:pt idx="316">
                  <c:v>4.05138</c:v>
                </c:pt>
                <c:pt idx="317">
                  <c:v>5.4187529999999997</c:v>
                </c:pt>
                <c:pt idx="318">
                  <c:v>4.7849550000000001</c:v>
                </c:pt>
                <c:pt idx="319">
                  <c:v>3.7769520000000001</c:v>
                </c:pt>
                <c:pt idx="320">
                  <c:v>4.7697770000000004</c:v>
                </c:pt>
                <c:pt idx="321">
                  <c:v>2.4502709999999999</c:v>
                </c:pt>
                <c:pt idx="322">
                  <c:v>2.2025920000000001</c:v>
                </c:pt>
                <c:pt idx="323">
                  <c:v>3.1855669999999998</c:v>
                </c:pt>
                <c:pt idx="324">
                  <c:v>3.5769519999999999</c:v>
                </c:pt>
                <c:pt idx="325">
                  <c:v>5.1615099999999998</c:v>
                </c:pt>
                <c:pt idx="326">
                  <c:v>5.4082749999999997</c:v>
                </c:pt>
                <c:pt idx="327">
                  <c:v>4.3536359999999998</c:v>
                </c:pt>
                <c:pt idx="328">
                  <c:v>4.5538189999999998</c:v>
                </c:pt>
                <c:pt idx="329">
                  <c:v>3.0156360000000002</c:v>
                </c:pt>
                <c:pt idx="330">
                  <c:v>0.39478600000000003</c:v>
                </c:pt>
                <c:pt idx="331">
                  <c:v>1.957951</c:v>
                </c:pt>
                <c:pt idx="332">
                  <c:v>3.5697749999999999</c:v>
                </c:pt>
                <c:pt idx="333">
                  <c:v>5.081321</c:v>
                </c:pt>
                <c:pt idx="334">
                  <c:v>4.9830589999999999</c:v>
                </c:pt>
                <c:pt idx="335">
                  <c:v>3.7517879999999999</c:v>
                </c:pt>
                <c:pt idx="336">
                  <c:v>4.8178729999999996</c:v>
                </c:pt>
                <c:pt idx="337">
                  <c:v>5.9934909999999997</c:v>
                </c:pt>
                <c:pt idx="338">
                  <c:v>4.6316689999999996</c:v>
                </c:pt>
                <c:pt idx="339">
                  <c:v>3.0590489999999999</c:v>
                </c:pt>
                <c:pt idx="340">
                  <c:v>4.4012529999999996</c:v>
                </c:pt>
                <c:pt idx="341">
                  <c:v>4.349774</c:v>
                </c:pt>
                <c:pt idx="342">
                  <c:v>3.8266100000000001</c:v>
                </c:pt>
                <c:pt idx="343">
                  <c:v>4.7238119999999997</c:v>
                </c:pt>
                <c:pt idx="344">
                  <c:v>4.1825939999999999</c:v>
                </c:pt>
                <c:pt idx="345">
                  <c:v>3.2532269999999999</c:v>
                </c:pt>
                <c:pt idx="346">
                  <c:v>4.9424570000000001</c:v>
                </c:pt>
                <c:pt idx="347">
                  <c:v>4.0429870000000001</c:v>
                </c:pt>
                <c:pt idx="348">
                  <c:v>4.4718330000000002</c:v>
                </c:pt>
                <c:pt idx="349">
                  <c:v>3.3975770000000001</c:v>
                </c:pt>
                <c:pt idx="350">
                  <c:v>2.7708179999999998</c:v>
                </c:pt>
                <c:pt idx="351">
                  <c:v>2.7550509999999999</c:v>
                </c:pt>
                <c:pt idx="352">
                  <c:v>3.5929820000000001</c:v>
                </c:pt>
                <c:pt idx="353">
                  <c:v>4.3595579999999998</c:v>
                </c:pt>
                <c:pt idx="354">
                  <c:v>3.548584</c:v>
                </c:pt>
                <c:pt idx="355">
                  <c:v>3.2835380000000001</c:v>
                </c:pt>
                <c:pt idx="356">
                  <c:v>3.239859</c:v>
                </c:pt>
                <c:pt idx="357">
                  <c:v>3.942628</c:v>
                </c:pt>
                <c:pt idx="358">
                  <c:v>0.31672</c:v>
                </c:pt>
                <c:pt idx="359">
                  <c:v>5.3412699999999997</c:v>
                </c:pt>
                <c:pt idx="360">
                  <c:v>4.9720519999999997</c:v>
                </c:pt>
                <c:pt idx="361">
                  <c:v>4.2727269999999997</c:v>
                </c:pt>
                <c:pt idx="362">
                  <c:v>4.7887079999999997</c:v>
                </c:pt>
                <c:pt idx="363">
                  <c:v>3.679656</c:v>
                </c:pt>
                <c:pt idx="364">
                  <c:v>3.0453109999999999</c:v>
                </c:pt>
                <c:pt idx="365">
                  <c:v>7.4409890000000001</c:v>
                </c:pt>
                <c:pt idx="366">
                  <c:v>4.7413869999999996</c:v>
                </c:pt>
                <c:pt idx="367">
                  <c:v>4.1021130000000001</c:v>
                </c:pt>
                <c:pt idx="368">
                  <c:v>4.2245359999999996</c:v>
                </c:pt>
                <c:pt idx="369">
                  <c:v>4.3535849999999998</c:v>
                </c:pt>
                <c:pt idx="370">
                  <c:v>3.7886730000000002</c:v>
                </c:pt>
                <c:pt idx="371">
                  <c:v>2.922987</c:v>
                </c:pt>
                <c:pt idx="372">
                  <c:v>3.2917399999999999</c:v>
                </c:pt>
                <c:pt idx="373">
                  <c:v>2.117677</c:v>
                </c:pt>
                <c:pt idx="374">
                  <c:v>3.0841319999999999</c:v>
                </c:pt>
                <c:pt idx="375">
                  <c:v>3.3990659999999999</c:v>
                </c:pt>
                <c:pt idx="376">
                  <c:v>3.5158719999999999</c:v>
                </c:pt>
                <c:pt idx="377">
                  <c:v>6.0285529999999996</c:v>
                </c:pt>
                <c:pt idx="378">
                  <c:v>2.9848590000000002</c:v>
                </c:pt>
                <c:pt idx="379">
                  <c:v>2.7356129999999999</c:v>
                </c:pt>
                <c:pt idx="380">
                  <c:v>2.7488760000000001</c:v>
                </c:pt>
                <c:pt idx="381">
                  <c:v>2.7730139999999999</c:v>
                </c:pt>
                <c:pt idx="382">
                  <c:v>5.8016750000000004</c:v>
                </c:pt>
                <c:pt idx="383">
                  <c:v>5.0477800000000004</c:v>
                </c:pt>
                <c:pt idx="384">
                  <c:v>4.063822</c:v>
                </c:pt>
                <c:pt idx="385">
                  <c:v>4.6267370000000003</c:v>
                </c:pt>
                <c:pt idx="386">
                  <c:v>4.1912440000000002</c:v>
                </c:pt>
                <c:pt idx="387">
                  <c:v>4.4376829999999998</c:v>
                </c:pt>
                <c:pt idx="388">
                  <c:v>3.9566129999999999</c:v>
                </c:pt>
                <c:pt idx="389">
                  <c:v>3.7270189999999999</c:v>
                </c:pt>
                <c:pt idx="390">
                  <c:v>4.1229139999999997</c:v>
                </c:pt>
                <c:pt idx="391">
                  <c:v>4.9428599999999996</c:v>
                </c:pt>
                <c:pt idx="392">
                  <c:v>3.8198789999999998</c:v>
                </c:pt>
                <c:pt idx="393">
                  <c:v>2.4285420000000002</c:v>
                </c:pt>
                <c:pt idx="394">
                  <c:v>2.4318279999999999</c:v>
                </c:pt>
                <c:pt idx="395">
                  <c:v>2.993449</c:v>
                </c:pt>
                <c:pt idx="396">
                  <c:v>3.9685169999999999</c:v>
                </c:pt>
                <c:pt idx="397">
                  <c:v>3.7023269999999999</c:v>
                </c:pt>
                <c:pt idx="398">
                  <c:v>4.3286049999999996</c:v>
                </c:pt>
                <c:pt idx="399">
                  <c:v>4.342066</c:v>
                </c:pt>
                <c:pt idx="400">
                  <c:v>4.0217840000000002</c:v>
                </c:pt>
                <c:pt idx="401">
                  <c:v>4.5866619999999996</c:v>
                </c:pt>
                <c:pt idx="402">
                  <c:v>3.8748010000000002</c:v>
                </c:pt>
                <c:pt idx="403">
                  <c:v>4.3011999999999997</c:v>
                </c:pt>
                <c:pt idx="404">
                  <c:v>3.034535</c:v>
                </c:pt>
                <c:pt idx="405">
                  <c:v>3.0460389999999999</c:v>
                </c:pt>
                <c:pt idx="406">
                  <c:v>3.5435509999999999</c:v>
                </c:pt>
                <c:pt idx="407">
                  <c:v>4.0331400000000004</c:v>
                </c:pt>
                <c:pt idx="408">
                  <c:v>4.8837419999999998</c:v>
                </c:pt>
                <c:pt idx="409">
                  <c:v>2.2119040000000001</c:v>
                </c:pt>
                <c:pt idx="410">
                  <c:v>3.179532</c:v>
                </c:pt>
                <c:pt idx="411">
                  <c:v>4.4488469999999998</c:v>
                </c:pt>
                <c:pt idx="412">
                  <c:v>7.2994009999999996</c:v>
                </c:pt>
                <c:pt idx="413">
                  <c:v>4.2136060000000004</c:v>
                </c:pt>
                <c:pt idx="414">
                  <c:v>5.0840430000000003</c:v>
                </c:pt>
                <c:pt idx="415">
                  <c:v>4.0737810000000003</c:v>
                </c:pt>
                <c:pt idx="416">
                  <c:v>8.2902719999999999</c:v>
                </c:pt>
                <c:pt idx="417">
                  <c:v>6.1474390000000003</c:v>
                </c:pt>
                <c:pt idx="418">
                  <c:v>4.5627639999999996</c:v>
                </c:pt>
                <c:pt idx="419">
                  <c:v>3.2512500000000002</c:v>
                </c:pt>
                <c:pt idx="420">
                  <c:v>3.129588</c:v>
                </c:pt>
                <c:pt idx="421">
                  <c:v>3.655891</c:v>
                </c:pt>
                <c:pt idx="422">
                  <c:v>4.2834560000000002</c:v>
                </c:pt>
                <c:pt idx="423">
                  <c:v>3.6711420000000001</c:v>
                </c:pt>
                <c:pt idx="424">
                  <c:v>4.530519</c:v>
                </c:pt>
                <c:pt idx="425">
                  <c:v>6.7810090000000001</c:v>
                </c:pt>
                <c:pt idx="426">
                  <c:v>5.1500779999999997</c:v>
                </c:pt>
                <c:pt idx="427">
                  <c:v>3.7214700000000001</c:v>
                </c:pt>
                <c:pt idx="428">
                  <c:v>4.6844789999999996</c:v>
                </c:pt>
                <c:pt idx="429">
                  <c:v>4.1463169999999998</c:v>
                </c:pt>
                <c:pt idx="430">
                  <c:v>3.250499</c:v>
                </c:pt>
                <c:pt idx="431">
                  <c:v>6.539504</c:v>
                </c:pt>
                <c:pt idx="432">
                  <c:v>5.7319440000000004</c:v>
                </c:pt>
                <c:pt idx="433">
                  <c:v>5.8837710000000003</c:v>
                </c:pt>
                <c:pt idx="434">
                  <c:v>5.3840199999999996</c:v>
                </c:pt>
                <c:pt idx="435">
                  <c:v>5.8365410000000004</c:v>
                </c:pt>
                <c:pt idx="436">
                  <c:v>3.8501880000000002</c:v>
                </c:pt>
                <c:pt idx="437">
                  <c:v>3.2571850000000002</c:v>
                </c:pt>
                <c:pt idx="438">
                  <c:v>4.6959379999999999</c:v>
                </c:pt>
                <c:pt idx="439">
                  <c:v>3.390047</c:v>
                </c:pt>
                <c:pt idx="440">
                  <c:v>4.484089</c:v>
                </c:pt>
                <c:pt idx="441">
                  <c:v>4.9407300000000003</c:v>
                </c:pt>
                <c:pt idx="442">
                  <c:v>5.2295550000000004</c:v>
                </c:pt>
                <c:pt idx="443">
                  <c:v>5.9149770000000004</c:v>
                </c:pt>
                <c:pt idx="444">
                  <c:v>3.1320969999999999</c:v>
                </c:pt>
                <c:pt idx="445">
                  <c:v>6.219849</c:v>
                </c:pt>
                <c:pt idx="446">
                  <c:v>8.0211930000000002</c:v>
                </c:pt>
                <c:pt idx="447">
                  <c:v>7.3201039999999997</c:v>
                </c:pt>
                <c:pt idx="448">
                  <c:v>5.3373679999999997</c:v>
                </c:pt>
                <c:pt idx="449">
                  <c:v>5.6873230000000001</c:v>
                </c:pt>
                <c:pt idx="450">
                  <c:v>3.1517719999999998</c:v>
                </c:pt>
                <c:pt idx="451">
                  <c:v>4.8362400000000001</c:v>
                </c:pt>
                <c:pt idx="452">
                  <c:v>7.2628149999999998</c:v>
                </c:pt>
                <c:pt idx="453">
                  <c:v>6.6356210000000004</c:v>
                </c:pt>
                <c:pt idx="454">
                  <c:v>7.0263010000000001</c:v>
                </c:pt>
                <c:pt idx="455">
                  <c:v>8.0120100000000001</c:v>
                </c:pt>
                <c:pt idx="456">
                  <c:v>8.0790600000000001</c:v>
                </c:pt>
                <c:pt idx="457">
                  <c:v>12.188419</c:v>
                </c:pt>
                <c:pt idx="458">
                  <c:v>7.9290250000000002</c:v>
                </c:pt>
                <c:pt idx="459">
                  <c:v>0.41597899999999999</c:v>
                </c:pt>
                <c:pt idx="460">
                  <c:v>7.553966</c:v>
                </c:pt>
                <c:pt idx="461">
                  <c:v>7.1683190000000003</c:v>
                </c:pt>
                <c:pt idx="462">
                  <c:v>8.3109439999999992</c:v>
                </c:pt>
                <c:pt idx="463">
                  <c:v>6.1218849999999998</c:v>
                </c:pt>
                <c:pt idx="464">
                  <c:v>4.3301239999999996</c:v>
                </c:pt>
                <c:pt idx="465">
                  <c:v>3.8889629999999999</c:v>
                </c:pt>
                <c:pt idx="466">
                  <c:v>3.952521</c:v>
                </c:pt>
                <c:pt idx="467">
                  <c:v>4.4152870000000002</c:v>
                </c:pt>
                <c:pt idx="468">
                  <c:v>3.463635</c:v>
                </c:pt>
                <c:pt idx="469">
                  <c:v>3.6232899999999999</c:v>
                </c:pt>
                <c:pt idx="470">
                  <c:v>3.3416359999999998</c:v>
                </c:pt>
                <c:pt idx="471">
                  <c:v>3.8772099999999998</c:v>
                </c:pt>
                <c:pt idx="472">
                  <c:v>5.726051</c:v>
                </c:pt>
                <c:pt idx="473">
                  <c:v>6.8827819999999997</c:v>
                </c:pt>
                <c:pt idx="474">
                  <c:v>5.726845</c:v>
                </c:pt>
                <c:pt idx="475">
                  <c:v>4.6870849999999997</c:v>
                </c:pt>
                <c:pt idx="476">
                  <c:v>5.859102</c:v>
                </c:pt>
                <c:pt idx="477">
                  <c:v>4.9259130000000004</c:v>
                </c:pt>
                <c:pt idx="478">
                  <c:v>7.9050570000000002</c:v>
                </c:pt>
                <c:pt idx="479">
                  <c:v>6.6269210000000003</c:v>
                </c:pt>
                <c:pt idx="480">
                  <c:v>7.055663</c:v>
                </c:pt>
                <c:pt idx="481">
                  <c:v>4.7104379999999999</c:v>
                </c:pt>
                <c:pt idx="482">
                  <c:v>5.1602560000000004</c:v>
                </c:pt>
                <c:pt idx="483">
                  <c:v>3.616425</c:v>
                </c:pt>
                <c:pt idx="484">
                  <c:v>3.100536</c:v>
                </c:pt>
                <c:pt idx="485">
                  <c:v>3.315639</c:v>
                </c:pt>
                <c:pt idx="486">
                  <c:v>4.4855619999999998</c:v>
                </c:pt>
                <c:pt idx="487">
                  <c:v>6.6180630000000003</c:v>
                </c:pt>
                <c:pt idx="488">
                  <c:v>7.5170940000000002</c:v>
                </c:pt>
                <c:pt idx="489">
                  <c:v>5.9186259999999997</c:v>
                </c:pt>
                <c:pt idx="490">
                  <c:v>5.5820949999999998</c:v>
                </c:pt>
                <c:pt idx="491">
                  <c:v>5.4884659999999998</c:v>
                </c:pt>
                <c:pt idx="492">
                  <c:v>4.0678890000000001</c:v>
                </c:pt>
                <c:pt idx="493">
                  <c:v>4.0231349999999999</c:v>
                </c:pt>
                <c:pt idx="494">
                  <c:v>4.1690930000000002</c:v>
                </c:pt>
                <c:pt idx="495">
                  <c:v>3.1384439999999998</c:v>
                </c:pt>
                <c:pt idx="496">
                  <c:v>2.3096580000000002</c:v>
                </c:pt>
                <c:pt idx="497">
                  <c:v>2.8803489999999998</c:v>
                </c:pt>
                <c:pt idx="498">
                  <c:v>5.0153059999999998</c:v>
                </c:pt>
                <c:pt idx="499">
                  <c:v>4.4267880000000002</c:v>
                </c:pt>
                <c:pt idx="500">
                  <c:v>0.59900100000000001</c:v>
                </c:pt>
                <c:pt idx="501">
                  <c:v>1.0233000000000001</c:v>
                </c:pt>
                <c:pt idx="502">
                  <c:v>0.78307300000000002</c:v>
                </c:pt>
                <c:pt idx="503">
                  <c:v>0.65486699999999998</c:v>
                </c:pt>
                <c:pt idx="504">
                  <c:v>2.591977</c:v>
                </c:pt>
                <c:pt idx="505">
                  <c:v>3.8853230000000001</c:v>
                </c:pt>
                <c:pt idx="506">
                  <c:v>3.2409439999999998</c:v>
                </c:pt>
                <c:pt idx="507">
                  <c:v>3.8842789999999998</c:v>
                </c:pt>
                <c:pt idx="508">
                  <c:v>2.1696970000000002</c:v>
                </c:pt>
                <c:pt idx="509">
                  <c:v>2.0648409999999999</c:v>
                </c:pt>
                <c:pt idx="510">
                  <c:v>2.1824599999999998</c:v>
                </c:pt>
                <c:pt idx="511">
                  <c:v>2.9145340000000002</c:v>
                </c:pt>
                <c:pt idx="512">
                  <c:v>2.9808490000000001</c:v>
                </c:pt>
                <c:pt idx="513">
                  <c:v>3.5166550000000001</c:v>
                </c:pt>
                <c:pt idx="514">
                  <c:v>3.296996</c:v>
                </c:pt>
                <c:pt idx="515">
                  <c:v>3.4756649999999998</c:v>
                </c:pt>
                <c:pt idx="516">
                  <c:v>3.1782439999999998</c:v>
                </c:pt>
                <c:pt idx="517">
                  <c:v>3.476232</c:v>
                </c:pt>
                <c:pt idx="518">
                  <c:v>5.7104739999999996</c:v>
                </c:pt>
                <c:pt idx="519">
                  <c:v>5.2786670000000004</c:v>
                </c:pt>
                <c:pt idx="520">
                  <c:v>5.1334559999999998</c:v>
                </c:pt>
                <c:pt idx="521">
                  <c:v>4.547326</c:v>
                </c:pt>
                <c:pt idx="522">
                  <c:v>4.5739159999999996</c:v>
                </c:pt>
                <c:pt idx="523">
                  <c:v>3.7246920000000001</c:v>
                </c:pt>
                <c:pt idx="524">
                  <c:v>3.4988459999999999</c:v>
                </c:pt>
                <c:pt idx="525">
                  <c:v>3.3233320000000002</c:v>
                </c:pt>
                <c:pt idx="526">
                  <c:v>3.172704</c:v>
                </c:pt>
                <c:pt idx="527">
                  <c:v>5.2331029999999998</c:v>
                </c:pt>
                <c:pt idx="528">
                  <c:v>4.1837540000000004</c:v>
                </c:pt>
                <c:pt idx="529">
                  <c:v>4.0750159999999997</c:v>
                </c:pt>
                <c:pt idx="530">
                  <c:v>3.7093539999999998</c:v>
                </c:pt>
                <c:pt idx="531">
                  <c:v>4.2455910000000001</c:v>
                </c:pt>
                <c:pt idx="532">
                  <c:v>4.3472559999999998</c:v>
                </c:pt>
                <c:pt idx="533">
                  <c:v>3.741384</c:v>
                </c:pt>
                <c:pt idx="534">
                  <c:v>3.375022</c:v>
                </c:pt>
                <c:pt idx="535">
                  <c:v>3.8397890000000001</c:v>
                </c:pt>
                <c:pt idx="536">
                  <c:v>4.6881190000000004</c:v>
                </c:pt>
                <c:pt idx="537">
                  <c:v>4.3347749999999996</c:v>
                </c:pt>
                <c:pt idx="538">
                  <c:v>2.6383999999999999</c:v>
                </c:pt>
                <c:pt idx="539">
                  <c:v>2.8049240000000002</c:v>
                </c:pt>
                <c:pt idx="540">
                  <c:v>2.8469530000000001</c:v>
                </c:pt>
                <c:pt idx="541">
                  <c:v>2.6345990000000001</c:v>
                </c:pt>
                <c:pt idx="542">
                  <c:v>3.9328530000000002</c:v>
                </c:pt>
                <c:pt idx="543">
                  <c:v>4.4663639999999996</c:v>
                </c:pt>
                <c:pt idx="544">
                  <c:v>4.133642</c:v>
                </c:pt>
                <c:pt idx="545">
                  <c:v>3.2555740000000002</c:v>
                </c:pt>
                <c:pt idx="546">
                  <c:v>3.8584130000000001</c:v>
                </c:pt>
                <c:pt idx="547">
                  <c:v>4.1631099999999996</c:v>
                </c:pt>
                <c:pt idx="548">
                  <c:v>4.0168470000000003</c:v>
                </c:pt>
                <c:pt idx="549">
                  <c:v>3.2913209999999999</c:v>
                </c:pt>
                <c:pt idx="550">
                  <c:v>3.2367430000000001</c:v>
                </c:pt>
                <c:pt idx="551">
                  <c:v>4.2916920000000003</c:v>
                </c:pt>
                <c:pt idx="552">
                  <c:v>3.674026</c:v>
                </c:pt>
                <c:pt idx="553">
                  <c:v>4.4826079999999999</c:v>
                </c:pt>
                <c:pt idx="554">
                  <c:v>4.9325809999999999</c:v>
                </c:pt>
                <c:pt idx="555">
                  <c:v>4.7685009999999997</c:v>
                </c:pt>
                <c:pt idx="556">
                  <c:v>3.2214619999999998</c:v>
                </c:pt>
                <c:pt idx="557">
                  <c:v>3.3404889999999998</c:v>
                </c:pt>
                <c:pt idx="558">
                  <c:v>3.4283389999999998</c:v>
                </c:pt>
                <c:pt idx="559">
                  <c:v>3.14676</c:v>
                </c:pt>
                <c:pt idx="560">
                  <c:v>3.8580830000000002</c:v>
                </c:pt>
                <c:pt idx="561">
                  <c:v>2.7601840000000002</c:v>
                </c:pt>
                <c:pt idx="562">
                  <c:v>2.3674919999999999</c:v>
                </c:pt>
                <c:pt idx="563">
                  <c:v>3.6621359999999998</c:v>
                </c:pt>
                <c:pt idx="564">
                  <c:v>5.0357159999999999</c:v>
                </c:pt>
                <c:pt idx="565">
                  <c:v>5.7290710000000002</c:v>
                </c:pt>
                <c:pt idx="566">
                  <c:v>7.0735080000000004</c:v>
                </c:pt>
                <c:pt idx="567">
                  <c:v>4.1572100000000001</c:v>
                </c:pt>
                <c:pt idx="568">
                  <c:v>3.4729209999999999</c:v>
                </c:pt>
                <c:pt idx="569">
                  <c:v>3.8519410000000001</c:v>
                </c:pt>
                <c:pt idx="570">
                  <c:v>4.5604380000000004</c:v>
                </c:pt>
                <c:pt idx="571">
                  <c:v>6.0670229999999998</c:v>
                </c:pt>
                <c:pt idx="572">
                  <c:v>4.9984390000000003</c:v>
                </c:pt>
                <c:pt idx="573">
                  <c:v>4.2854289999999997</c:v>
                </c:pt>
                <c:pt idx="574">
                  <c:v>3.56697</c:v>
                </c:pt>
                <c:pt idx="575">
                  <c:v>4.4406420000000004</c:v>
                </c:pt>
                <c:pt idx="576">
                  <c:v>5.8550319999999996</c:v>
                </c:pt>
                <c:pt idx="577">
                  <c:v>4.0458980000000002</c:v>
                </c:pt>
                <c:pt idx="578">
                  <c:v>4.0489259999999998</c:v>
                </c:pt>
                <c:pt idx="579">
                  <c:v>3.2496619999999998</c:v>
                </c:pt>
                <c:pt idx="580">
                  <c:v>3.7114349999999998</c:v>
                </c:pt>
                <c:pt idx="581">
                  <c:v>3.8310240000000002</c:v>
                </c:pt>
                <c:pt idx="582">
                  <c:v>3.6201620000000001</c:v>
                </c:pt>
                <c:pt idx="583">
                  <c:v>3.5223140000000002</c:v>
                </c:pt>
                <c:pt idx="584">
                  <c:v>3.2634970000000001</c:v>
                </c:pt>
                <c:pt idx="585">
                  <c:v>2.7760389999999999</c:v>
                </c:pt>
                <c:pt idx="586">
                  <c:v>3.7758090000000002</c:v>
                </c:pt>
                <c:pt idx="587">
                  <c:v>4.0783959999999997</c:v>
                </c:pt>
                <c:pt idx="588">
                  <c:v>3.007247</c:v>
                </c:pt>
                <c:pt idx="589">
                  <c:v>3.208078</c:v>
                </c:pt>
                <c:pt idx="590">
                  <c:v>4.6824479999999999</c:v>
                </c:pt>
                <c:pt idx="591">
                  <c:v>3.8429069999999999</c:v>
                </c:pt>
                <c:pt idx="592">
                  <c:v>3.442224</c:v>
                </c:pt>
                <c:pt idx="593">
                  <c:v>3.446358</c:v>
                </c:pt>
                <c:pt idx="594">
                  <c:v>2.3559640000000002</c:v>
                </c:pt>
                <c:pt idx="595">
                  <c:v>4.371632</c:v>
                </c:pt>
                <c:pt idx="596">
                  <c:v>5.596527</c:v>
                </c:pt>
                <c:pt idx="597">
                  <c:v>5.3078599999999998</c:v>
                </c:pt>
                <c:pt idx="598">
                  <c:v>5.6312239999999996</c:v>
                </c:pt>
                <c:pt idx="599">
                  <c:v>3.6595610000000001</c:v>
                </c:pt>
                <c:pt idx="600">
                  <c:v>3.7787069999999998</c:v>
                </c:pt>
                <c:pt idx="601">
                  <c:v>4.8543880000000001</c:v>
                </c:pt>
                <c:pt idx="602">
                  <c:v>5.8059430000000001</c:v>
                </c:pt>
                <c:pt idx="603">
                  <c:v>6.0566209999999998</c:v>
                </c:pt>
                <c:pt idx="604">
                  <c:v>3.972788</c:v>
                </c:pt>
                <c:pt idx="605">
                  <c:v>3.7114370000000001</c:v>
                </c:pt>
                <c:pt idx="606">
                  <c:v>5.5229650000000001</c:v>
                </c:pt>
                <c:pt idx="607">
                  <c:v>3.8990279999999999</c:v>
                </c:pt>
                <c:pt idx="608">
                  <c:v>4.831283</c:v>
                </c:pt>
                <c:pt idx="609">
                  <c:v>3.9440750000000002</c:v>
                </c:pt>
                <c:pt idx="610">
                  <c:v>3.8411080000000002</c:v>
                </c:pt>
                <c:pt idx="611">
                  <c:v>5.1924429999999999</c:v>
                </c:pt>
                <c:pt idx="612">
                  <c:v>3.5797850000000002</c:v>
                </c:pt>
                <c:pt idx="613">
                  <c:v>3.4807679999999999</c:v>
                </c:pt>
                <c:pt idx="614">
                  <c:v>4.1514850000000001</c:v>
                </c:pt>
                <c:pt idx="615">
                  <c:v>4.4334920000000002</c:v>
                </c:pt>
                <c:pt idx="616">
                  <c:v>3.5575540000000001</c:v>
                </c:pt>
                <c:pt idx="617">
                  <c:v>4.4310289999999997</c:v>
                </c:pt>
                <c:pt idx="618">
                  <c:v>3.8067609999999998</c:v>
                </c:pt>
                <c:pt idx="619">
                  <c:v>4.231992</c:v>
                </c:pt>
                <c:pt idx="620">
                  <c:v>3.7586249999999999</c:v>
                </c:pt>
                <c:pt idx="621">
                  <c:v>3.262591</c:v>
                </c:pt>
                <c:pt idx="622">
                  <c:v>2.3971300000000002</c:v>
                </c:pt>
                <c:pt idx="623">
                  <c:v>3.2120009999999999</c:v>
                </c:pt>
                <c:pt idx="624">
                  <c:v>4.5968390000000001</c:v>
                </c:pt>
                <c:pt idx="625">
                  <c:v>4.6339670000000002</c:v>
                </c:pt>
                <c:pt idx="626">
                  <c:v>3.5711119999999998</c:v>
                </c:pt>
                <c:pt idx="627">
                  <c:v>3.502678</c:v>
                </c:pt>
                <c:pt idx="628">
                  <c:v>2.9441160000000002</c:v>
                </c:pt>
                <c:pt idx="629">
                  <c:v>3.4495610000000001</c:v>
                </c:pt>
                <c:pt idx="630">
                  <c:v>3.1619619999999999</c:v>
                </c:pt>
                <c:pt idx="631">
                  <c:v>3.643815</c:v>
                </c:pt>
                <c:pt idx="632">
                  <c:v>2.6988129999999999</c:v>
                </c:pt>
                <c:pt idx="633">
                  <c:v>2.766994</c:v>
                </c:pt>
                <c:pt idx="634">
                  <c:v>2.7364139999999999</c:v>
                </c:pt>
                <c:pt idx="635">
                  <c:v>3.6313240000000002</c:v>
                </c:pt>
                <c:pt idx="636">
                  <c:v>3.9831560000000001</c:v>
                </c:pt>
                <c:pt idx="637">
                  <c:v>4.6070180000000001</c:v>
                </c:pt>
                <c:pt idx="638">
                  <c:v>5.8091939999999997</c:v>
                </c:pt>
                <c:pt idx="639">
                  <c:v>6.1977270000000004</c:v>
                </c:pt>
                <c:pt idx="640">
                  <c:v>5.6004860000000001</c:v>
                </c:pt>
                <c:pt idx="641">
                  <c:v>4.4690820000000002</c:v>
                </c:pt>
                <c:pt idx="642">
                  <c:v>6.1640920000000001</c:v>
                </c:pt>
                <c:pt idx="643">
                  <c:v>5.3171980000000003</c:v>
                </c:pt>
                <c:pt idx="644">
                  <c:v>5.3001889999999996</c:v>
                </c:pt>
                <c:pt idx="645">
                  <c:v>4.4461769999999996</c:v>
                </c:pt>
                <c:pt idx="646">
                  <c:v>4.9050719999999997</c:v>
                </c:pt>
                <c:pt idx="647">
                  <c:v>4.7426950000000003</c:v>
                </c:pt>
                <c:pt idx="648">
                  <c:v>4.2572970000000003</c:v>
                </c:pt>
                <c:pt idx="649">
                  <c:v>5.4393250000000002</c:v>
                </c:pt>
                <c:pt idx="650">
                  <c:v>4.6815420000000003</c:v>
                </c:pt>
                <c:pt idx="651">
                  <c:v>4.3383839999999996</c:v>
                </c:pt>
                <c:pt idx="652">
                  <c:v>3.3365719999999999</c:v>
                </c:pt>
                <c:pt idx="653">
                  <c:v>3.1711119999999999</c:v>
                </c:pt>
                <c:pt idx="654">
                  <c:v>3.5620880000000001</c:v>
                </c:pt>
                <c:pt idx="655">
                  <c:v>5.0444940000000003</c:v>
                </c:pt>
                <c:pt idx="656">
                  <c:v>5.2415440000000002</c:v>
                </c:pt>
                <c:pt idx="657">
                  <c:v>5.3939389999999996</c:v>
                </c:pt>
                <c:pt idx="658">
                  <c:v>7.5171650000000003</c:v>
                </c:pt>
                <c:pt idx="659">
                  <c:v>7.2491680000000001</c:v>
                </c:pt>
                <c:pt idx="660">
                  <c:v>6.1742359999999996</c:v>
                </c:pt>
                <c:pt idx="661">
                  <c:v>7.6809130000000003</c:v>
                </c:pt>
                <c:pt idx="662">
                  <c:v>7.1601379999999999</c:v>
                </c:pt>
                <c:pt idx="663">
                  <c:v>6.9624180000000004</c:v>
                </c:pt>
                <c:pt idx="664">
                  <c:v>7.2662139999999997</c:v>
                </c:pt>
                <c:pt idx="665">
                  <c:v>7.4588660000000004</c:v>
                </c:pt>
                <c:pt idx="666">
                  <c:v>6.0530470000000003</c:v>
                </c:pt>
                <c:pt idx="667">
                  <c:v>4.814654</c:v>
                </c:pt>
                <c:pt idx="668">
                  <c:v>3.1313049999999998</c:v>
                </c:pt>
                <c:pt idx="669">
                  <c:v>3.9477159999999998</c:v>
                </c:pt>
                <c:pt idx="670">
                  <c:v>5.0591980000000003</c:v>
                </c:pt>
                <c:pt idx="671">
                  <c:v>4.2915229999999998</c:v>
                </c:pt>
                <c:pt idx="672">
                  <c:v>4.34</c:v>
                </c:pt>
                <c:pt idx="673">
                  <c:v>3.1380810000000001</c:v>
                </c:pt>
                <c:pt idx="674">
                  <c:v>5.0561199999999999</c:v>
                </c:pt>
                <c:pt idx="675">
                  <c:v>5.9265650000000001</c:v>
                </c:pt>
                <c:pt idx="676">
                  <c:v>5.0705549999999997</c:v>
                </c:pt>
                <c:pt idx="677">
                  <c:v>5.5133590000000003</c:v>
                </c:pt>
                <c:pt idx="678">
                  <c:v>3.6826729999999999</c:v>
                </c:pt>
                <c:pt idx="679">
                  <c:v>3.683745</c:v>
                </c:pt>
                <c:pt idx="680">
                  <c:v>5.1397399999999998</c:v>
                </c:pt>
                <c:pt idx="681">
                  <c:v>4.709257</c:v>
                </c:pt>
                <c:pt idx="682">
                  <c:v>4.7927249999999999</c:v>
                </c:pt>
                <c:pt idx="683">
                  <c:v>3.6103800000000001</c:v>
                </c:pt>
                <c:pt idx="684">
                  <c:v>3.4355370000000001</c:v>
                </c:pt>
                <c:pt idx="685">
                  <c:v>5.1726239999999999</c:v>
                </c:pt>
                <c:pt idx="686">
                  <c:v>5.560473</c:v>
                </c:pt>
                <c:pt idx="687">
                  <c:v>4.3144499999999999</c:v>
                </c:pt>
                <c:pt idx="688">
                  <c:v>4.6437879999999998</c:v>
                </c:pt>
                <c:pt idx="689">
                  <c:v>5.2918019999999997</c:v>
                </c:pt>
                <c:pt idx="690">
                  <c:v>7.0695079999999999</c:v>
                </c:pt>
                <c:pt idx="691">
                  <c:v>5.2076589999999996</c:v>
                </c:pt>
                <c:pt idx="692">
                  <c:v>6.3677679999999999</c:v>
                </c:pt>
                <c:pt idx="693">
                  <c:v>4.2871230000000002</c:v>
                </c:pt>
                <c:pt idx="694">
                  <c:v>6.509989</c:v>
                </c:pt>
                <c:pt idx="695">
                  <c:v>4.6468040000000004</c:v>
                </c:pt>
                <c:pt idx="696">
                  <c:v>4.3568530000000001</c:v>
                </c:pt>
                <c:pt idx="697">
                  <c:v>4.7339820000000001</c:v>
                </c:pt>
                <c:pt idx="698">
                  <c:v>4.3548400000000003</c:v>
                </c:pt>
                <c:pt idx="699">
                  <c:v>4.6520250000000001</c:v>
                </c:pt>
                <c:pt idx="700">
                  <c:v>5.5896699999999999</c:v>
                </c:pt>
                <c:pt idx="701">
                  <c:v>4.4348479999999997</c:v>
                </c:pt>
                <c:pt idx="702">
                  <c:v>5.9354509999999996</c:v>
                </c:pt>
                <c:pt idx="703">
                  <c:v>4.3852029999999997</c:v>
                </c:pt>
                <c:pt idx="704">
                  <c:v>5.5646399999999998</c:v>
                </c:pt>
                <c:pt idx="705">
                  <c:v>6.77433</c:v>
                </c:pt>
                <c:pt idx="706">
                  <c:v>5.8496940000000004</c:v>
                </c:pt>
                <c:pt idx="707">
                  <c:v>4.6974530000000003</c:v>
                </c:pt>
                <c:pt idx="708">
                  <c:v>3.3634249999999999</c:v>
                </c:pt>
                <c:pt idx="709">
                  <c:v>4.7103510000000002</c:v>
                </c:pt>
                <c:pt idx="710">
                  <c:v>4.0276529999999999</c:v>
                </c:pt>
                <c:pt idx="711">
                  <c:v>5.2017249999999997</c:v>
                </c:pt>
                <c:pt idx="712">
                  <c:v>4.1812399999999998</c:v>
                </c:pt>
                <c:pt idx="713">
                  <c:v>4.2294859999999996</c:v>
                </c:pt>
                <c:pt idx="714">
                  <c:v>3.799588</c:v>
                </c:pt>
                <c:pt idx="715">
                  <c:v>6.4909619999999997</c:v>
                </c:pt>
                <c:pt idx="716">
                  <c:v>4.857774</c:v>
                </c:pt>
                <c:pt idx="717">
                  <c:v>5.6922059999999997</c:v>
                </c:pt>
                <c:pt idx="718">
                  <c:v>5.2997810000000003</c:v>
                </c:pt>
                <c:pt idx="719">
                  <c:v>5.0984889999999998</c:v>
                </c:pt>
                <c:pt idx="720">
                  <c:v>3.8138640000000001</c:v>
                </c:pt>
                <c:pt idx="721">
                  <c:v>3.8828140000000002</c:v>
                </c:pt>
                <c:pt idx="722">
                  <c:v>5.9737840000000002</c:v>
                </c:pt>
                <c:pt idx="723">
                  <c:v>5.167421</c:v>
                </c:pt>
                <c:pt idx="724">
                  <c:v>3.8029920000000002</c:v>
                </c:pt>
                <c:pt idx="725">
                  <c:v>2.718439</c:v>
                </c:pt>
                <c:pt idx="726">
                  <c:v>3.111964</c:v>
                </c:pt>
                <c:pt idx="727">
                  <c:v>4.1713490000000002</c:v>
                </c:pt>
                <c:pt idx="728">
                  <c:v>3.338962</c:v>
                </c:pt>
                <c:pt idx="729">
                  <c:v>4.7185499999999996</c:v>
                </c:pt>
                <c:pt idx="730">
                  <c:v>4.3610749999999996</c:v>
                </c:pt>
                <c:pt idx="731">
                  <c:v>4.7129979999999998</c:v>
                </c:pt>
                <c:pt idx="732">
                  <c:v>4.602373</c:v>
                </c:pt>
                <c:pt idx="733">
                  <c:v>5.7422240000000002</c:v>
                </c:pt>
                <c:pt idx="734">
                  <c:v>4.8506629999999999</c:v>
                </c:pt>
                <c:pt idx="735">
                  <c:v>4.0112300000000003</c:v>
                </c:pt>
                <c:pt idx="736">
                  <c:v>4.786562</c:v>
                </c:pt>
                <c:pt idx="737">
                  <c:v>5.8293169999999996</c:v>
                </c:pt>
                <c:pt idx="738">
                  <c:v>5.6665929999999998</c:v>
                </c:pt>
                <c:pt idx="739">
                  <c:v>4.6471010000000001</c:v>
                </c:pt>
                <c:pt idx="740">
                  <c:v>5.2446250000000001</c:v>
                </c:pt>
                <c:pt idx="741">
                  <c:v>5.8082409999999998</c:v>
                </c:pt>
                <c:pt idx="742">
                  <c:v>3.2403740000000001</c:v>
                </c:pt>
                <c:pt idx="743">
                  <c:v>2.6313260000000001</c:v>
                </c:pt>
                <c:pt idx="744">
                  <c:v>4.5374930000000004</c:v>
                </c:pt>
                <c:pt idx="745">
                  <c:v>4.7323969999999997</c:v>
                </c:pt>
                <c:pt idx="746">
                  <c:v>1.5731310000000001</c:v>
                </c:pt>
                <c:pt idx="747">
                  <c:v>4.4691320000000001</c:v>
                </c:pt>
                <c:pt idx="748">
                  <c:v>4.7200629999999997</c:v>
                </c:pt>
                <c:pt idx="749">
                  <c:v>4.0594760000000001</c:v>
                </c:pt>
                <c:pt idx="750">
                  <c:v>1.5570040000000001</c:v>
                </c:pt>
                <c:pt idx="751">
                  <c:v>0.96900399999999998</c:v>
                </c:pt>
                <c:pt idx="752">
                  <c:v>1.9840009999999999</c:v>
                </c:pt>
                <c:pt idx="753">
                  <c:v>4.952591</c:v>
                </c:pt>
                <c:pt idx="754">
                  <c:v>5.6401430000000001</c:v>
                </c:pt>
                <c:pt idx="755">
                  <c:v>5.8518379999999999</c:v>
                </c:pt>
                <c:pt idx="756">
                  <c:v>4.1282870000000003</c:v>
                </c:pt>
                <c:pt idx="757">
                  <c:v>5.3524750000000001</c:v>
                </c:pt>
                <c:pt idx="758">
                  <c:v>4.7595689999999999</c:v>
                </c:pt>
                <c:pt idx="759">
                  <c:v>6.4235899999999999</c:v>
                </c:pt>
                <c:pt idx="760">
                  <c:v>7.4505229999999996</c:v>
                </c:pt>
                <c:pt idx="761">
                  <c:v>9.7384559999999993</c:v>
                </c:pt>
                <c:pt idx="762">
                  <c:v>8.1785300000000003</c:v>
                </c:pt>
                <c:pt idx="763">
                  <c:v>7.7975529999999997</c:v>
                </c:pt>
                <c:pt idx="764">
                  <c:v>9.0731330000000003</c:v>
                </c:pt>
                <c:pt idx="765">
                  <c:v>5.952318</c:v>
                </c:pt>
                <c:pt idx="766">
                  <c:v>7.7837339999999999</c:v>
                </c:pt>
                <c:pt idx="767">
                  <c:v>6.9580209999999996</c:v>
                </c:pt>
                <c:pt idx="768">
                  <c:v>5.2540180000000003</c:v>
                </c:pt>
                <c:pt idx="769">
                  <c:v>6.8574960000000003</c:v>
                </c:pt>
                <c:pt idx="770">
                  <c:v>6.9356390000000001</c:v>
                </c:pt>
                <c:pt idx="771">
                  <c:v>6.9960199999999997</c:v>
                </c:pt>
                <c:pt idx="772">
                  <c:v>5.3874849999999999</c:v>
                </c:pt>
                <c:pt idx="773">
                  <c:v>5.4021939999999997</c:v>
                </c:pt>
                <c:pt idx="774">
                  <c:v>6.7106219999999999</c:v>
                </c:pt>
                <c:pt idx="775">
                  <c:v>5.1691649999999996</c:v>
                </c:pt>
                <c:pt idx="776">
                  <c:v>7.3606309999999997</c:v>
                </c:pt>
                <c:pt idx="777">
                  <c:v>4.9365230000000002</c:v>
                </c:pt>
                <c:pt idx="778">
                  <c:v>3.7671000000000001</c:v>
                </c:pt>
                <c:pt idx="779">
                  <c:v>6.2501509999999998</c:v>
                </c:pt>
                <c:pt idx="780">
                  <c:v>5.7205719999999998</c:v>
                </c:pt>
                <c:pt idx="781">
                  <c:v>5.3080059999999998</c:v>
                </c:pt>
                <c:pt idx="782">
                  <c:v>4.5617809999999999</c:v>
                </c:pt>
                <c:pt idx="783">
                  <c:v>0.63920900000000003</c:v>
                </c:pt>
                <c:pt idx="784">
                  <c:v>1.6603479999999999</c:v>
                </c:pt>
                <c:pt idx="785">
                  <c:v>5.8503829999999999</c:v>
                </c:pt>
                <c:pt idx="786">
                  <c:v>4.6725149999999998</c:v>
                </c:pt>
                <c:pt idx="787">
                  <c:v>6.9297620000000002</c:v>
                </c:pt>
                <c:pt idx="788">
                  <c:v>3.642055</c:v>
                </c:pt>
                <c:pt idx="789">
                  <c:v>5.4124150000000002</c:v>
                </c:pt>
                <c:pt idx="790">
                  <c:v>4.0755720000000002</c:v>
                </c:pt>
                <c:pt idx="791">
                  <c:v>4.02285</c:v>
                </c:pt>
                <c:pt idx="792">
                  <c:v>3.9914770000000002</c:v>
                </c:pt>
                <c:pt idx="793">
                  <c:v>1.806341</c:v>
                </c:pt>
                <c:pt idx="794">
                  <c:v>4.3100170000000002</c:v>
                </c:pt>
                <c:pt idx="795">
                  <c:v>5.8925340000000004</c:v>
                </c:pt>
                <c:pt idx="796">
                  <c:v>4.7614570000000001</c:v>
                </c:pt>
                <c:pt idx="797">
                  <c:v>4.3189440000000001</c:v>
                </c:pt>
                <c:pt idx="798">
                  <c:v>5.6602779999999999</c:v>
                </c:pt>
                <c:pt idx="799">
                  <c:v>5.3644930000000004</c:v>
                </c:pt>
                <c:pt idx="800">
                  <c:v>5.6750350000000003</c:v>
                </c:pt>
                <c:pt idx="801">
                  <c:v>5.0878319999999997</c:v>
                </c:pt>
                <c:pt idx="802">
                  <c:v>4.0316270000000003</c:v>
                </c:pt>
                <c:pt idx="803">
                  <c:v>4.8361359999999998</c:v>
                </c:pt>
                <c:pt idx="804">
                  <c:v>4.5827799999999996</c:v>
                </c:pt>
                <c:pt idx="805">
                  <c:v>5.7248239999999999</c:v>
                </c:pt>
                <c:pt idx="806">
                  <c:v>1.974645</c:v>
                </c:pt>
                <c:pt idx="807">
                  <c:v>2.8112729999999999</c:v>
                </c:pt>
                <c:pt idx="808">
                  <c:v>4.9445649999999999</c:v>
                </c:pt>
                <c:pt idx="809">
                  <c:v>4.8314529999999998</c:v>
                </c:pt>
                <c:pt idx="810">
                  <c:v>5.2436959999999999</c:v>
                </c:pt>
                <c:pt idx="811">
                  <c:v>5.0418820000000002</c:v>
                </c:pt>
                <c:pt idx="812">
                  <c:v>4.3955970000000004</c:v>
                </c:pt>
                <c:pt idx="813">
                  <c:v>5.1787130000000001</c:v>
                </c:pt>
                <c:pt idx="814">
                  <c:v>3.9041100000000002</c:v>
                </c:pt>
                <c:pt idx="815">
                  <c:v>4.4752590000000003</c:v>
                </c:pt>
                <c:pt idx="816">
                  <c:v>3.9023460000000001</c:v>
                </c:pt>
                <c:pt idx="817">
                  <c:v>3.6334960000000001</c:v>
                </c:pt>
                <c:pt idx="818">
                  <c:v>4.7940399999999999</c:v>
                </c:pt>
                <c:pt idx="819">
                  <c:v>5.9304370000000004</c:v>
                </c:pt>
                <c:pt idx="820">
                  <c:v>4.589372</c:v>
                </c:pt>
                <c:pt idx="821">
                  <c:v>4.3495660000000003</c:v>
                </c:pt>
                <c:pt idx="822">
                  <c:v>6.1484209999999999</c:v>
                </c:pt>
                <c:pt idx="823">
                  <c:v>4.6615089999999997</c:v>
                </c:pt>
                <c:pt idx="824">
                  <c:v>4.6412209999999998</c:v>
                </c:pt>
                <c:pt idx="825">
                  <c:v>5.4230840000000002</c:v>
                </c:pt>
                <c:pt idx="826">
                  <c:v>5.0468669999999998</c:v>
                </c:pt>
                <c:pt idx="827">
                  <c:v>3.917189</c:v>
                </c:pt>
                <c:pt idx="828">
                  <c:v>3.3751679999999999</c:v>
                </c:pt>
                <c:pt idx="829">
                  <c:v>4.5022159999999998</c:v>
                </c:pt>
                <c:pt idx="830">
                  <c:v>4.3065220000000002</c:v>
                </c:pt>
                <c:pt idx="831">
                  <c:v>3.849081</c:v>
                </c:pt>
                <c:pt idx="832">
                  <c:v>4.5061850000000003</c:v>
                </c:pt>
                <c:pt idx="833">
                  <c:v>3.8748019999999999</c:v>
                </c:pt>
                <c:pt idx="834">
                  <c:v>3.56934</c:v>
                </c:pt>
                <c:pt idx="835">
                  <c:v>2.9950410000000001</c:v>
                </c:pt>
                <c:pt idx="836">
                  <c:v>3.7118869999999999</c:v>
                </c:pt>
                <c:pt idx="837">
                  <c:v>3.8975919999999999</c:v>
                </c:pt>
                <c:pt idx="838">
                  <c:v>3.51464</c:v>
                </c:pt>
                <c:pt idx="839">
                  <c:v>3.1120730000000001</c:v>
                </c:pt>
                <c:pt idx="840">
                  <c:v>3.7170709999999998</c:v>
                </c:pt>
                <c:pt idx="841">
                  <c:v>4.2850630000000001</c:v>
                </c:pt>
                <c:pt idx="842">
                  <c:v>5.3919360000000003</c:v>
                </c:pt>
                <c:pt idx="843">
                  <c:v>3.9076810000000002</c:v>
                </c:pt>
                <c:pt idx="844">
                  <c:v>2.8271920000000001</c:v>
                </c:pt>
                <c:pt idx="845">
                  <c:v>2.8709410000000002</c:v>
                </c:pt>
                <c:pt idx="846">
                  <c:v>4.3488509999999998</c:v>
                </c:pt>
                <c:pt idx="847">
                  <c:v>3.6760969999999999</c:v>
                </c:pt>
                <c:pt idx="848">
                  <c:v>2.783881</c:v>
                </c:pt>
                <c:pt idx="849">
                  <c:v>1.7369289999999999</c:v>
                </c:pt>
                <c:pt idx="850">
                  <c:v>2.9403000000000001</c:v>
                </c:pt>
                <c:pt idx="851">
                  <c:v>4.3858249999999996</c:v>
                </c:pt>
                <c:pt idx="852">
                  <c:v>4.2105709999999998</c:v>
                </c:pt>
                <c:pt idx="853">
                  <c:v>4.3336459999999999</c:v>
                </c:pt>
                <c:pt idx="854">
                  <c:v>2.8731650000000002</c:v>
                </c:pt>
                <c:pt idx="855">
                  <c:v>3.530767</c:v>
                </c:pt>
                <c:pt idx="856">
                  <c:v>4.3009589999999998</c:v>
                </c:pt>
                <c:pt idx="857">
                  <c:v>4.1838740000000003</c:v>
                </c:pt>
                <c:pt idx="858">
                  <c:v>3.818092</c:v>
                </c:pt>
                <c:pt idx="859">
                  <c:v>3.9221550000000001</c:v>
                </c:pt>
                <c:pt idx="860">
                  <c:v>3.5555409999999998</c:v>
                </c:pt>
                <c:pt idx="861">
                  <c:v>4.131983</c:v>
                </c:pt>
                <c:pt idx="862">
                  <c:v>3.1240589999999999</c:v>
                </c:pt>
                <c:pt idx="863">
                  <c:v>2.868198</c:v>
                </c:pt>
                <c:pt idx="864">
                  <c:v>3.3399169999999998</c:v>
                </c:pt>
                <c:pt idx="865">
                  <c:v>3.591974</c:v>
                </c:pt>
                <c:pt idx="866">
                  <c:v>3.1282179999999999</c:v>
                </c:pt>
                <c:pt idx="867">
                  <c:v>4.9501939999999998</c:v>
                </c:pt>
                <c:pt idx="868">
                  <c:v>3.709562</c:v>
                </c:pt>
                <c:pt idx="869">
                  <c:v>3.325917</c:v>
                </c:pt>
                <c:pt idx="870">
                  <c:v>4.0725300000000004</c:v>
                </c:pt>
                <c:pt idx="871">
                  <c:v>3.2019350000000002</c:v>
                </c:pt>
                <c:pt idx="872">
                  <c:v>2.8647179999999999</c:v>
                </c:pt>
                <c:pt idx="873">
                  <c:v>1.719371</c:v>
                </c:pt>
                <c:pt idx="874">
                  <c:v>3.5695209999999999</c:v>
                </c:pt>
                <c:pt idx="875">
                  <c:v>3.448337</c:v>
                </c:pt>
                <c:pt idx="876">
                  <c:v>3.6065499999999999</c:v>
                </c:pt>
                <c:pt idx="877">
                  <c:v>3.4895990000000001</c:v>
                </c:pt>
                <c:pt idx="878">
                  <c:v>2.427673</c:v>
                </c:pt>
                <c:pt idx="879">
                  <c:v>2.8227530000000001</c:v>
                </c:pt>
                <c:pt idx="880">
                  <c:v>3.6162169999999998</c:v>
                </c:pt>
                <c:pt idx="881">
                  <c:v>4.1898350000000004</c:v>
                </c:pt>
                <c:pt idx="882">
                  <c:v>4.5465330000000002</c:v>
                </c:pt>
                <c:pt idx="883">
                  <c:v>2.579583</c:v>
                </c:pt>
                <c:pt idx="884">
                  <c:v>3.1717520000000001</c:v>
                </c:pt>
                <c:pt idx="885">
                  <c:v>3.3273540000000001</c:v>
                </c:pt>
                <c:pt idx="886">
                  <c:v>3.6161660000000002</c:v>
                </c:pt>
                <c:pt idx="887">
                  <c:v>3.9804430000000002</c:v>
                </c:pt>
                <c:pt idx="888">
                  <c:v>3.212704</c:v>
                </c:pt>
                <c:pt idx="889">
                  <c:v>4.8582210000000003</c:v>
                </c:pt>
                <c:pt idx="890">
                  <c:v>3.5651199999999998</c:v>
                </c:pt>
                <c:pt idx="891">
                  <c:v>4.2952919999999999</c:v>
                </c:pt>
                <c:pt idx="892">
                  <c:v>4.5535949999999996</c:v>
                </c:pt>
                <c:pt idx="893">
                  <c:v>3.387254</c:v>
                </c:pt>
                <c:pt idx="894">
                  <c:v>3.7887499999999998</c:v>
                </c:pt>
                <c:pt idx="895">
                  <c:v>3.5781809999999998</c:v>
                </c:pt>
                <c:pt idx="896">
                  <c:v>2.9620350000000002</c:v>
                </c:pt>
                <c:pt idx="897">
                  <c:v>4.4536179999999996</c:v>
                </c:pt>
                <c:pt idx="898">
                  <c:v>3.2044290000000002</c:v>
                </c:pt>
                <c:pt idx="899">
                  <c:v>3.1977869999999999</c:v>
                </c:pt>
                <c:pt idx="900">
                  <c:v>3.5753159999999999</c:v>
                </c:pt>
                <c:pt idx="901">
                  <c:v>3.4731719999999999</c:v>
                </c:pt>
                <c:pt idx="902">
                  <c:v>4.2916220000000003</c:v>
                </c:pt>
                <c:pt idx="903">
                  <c:v>3.2627790000000001</c:v>
                </c:pt>
                <c:pt idx="904">
                  <c:v>3.3795700000000002</c:v>
                </c:pt>
                <c:pt idx="905">
                  <c:v>3.662433</c:v>
                </c:pt>
                <c:pt idx="906">
                  <c:v>3.9447890000000001</c:v>
                </c:pt>
                <c:pt idx="907">
                  <c:v>3.0758679999999998</c:v>
                </c:pt>
                <c:pt idx="908">
                  <c:v>3.525417</c:v>
                </c:pt>
                <c:pt idx="909">
                  <c:v>3.3610880000000001</c:v>
                </c:pt>
                <c:pt idx="910">
                  <c:v>3.6995909999999999</c:v>
                </c:pt>
                <c:pt idx="911">
                  <c:v>3.31149</c:v>
                </c:pt>
                <c:pt idx="912">
                  <c:v>3.773034</c:v>
                </c:pt>
                <c:pt idx="913">
                  <c:v>1.960548</c:v>
                </c:pt>
                <c:pt idx="914">
                  <c:v>3.1868810000000001</c:v>
                </c:pt>
                <c:pt idx="915">
                  <c:v>3.5272990000000002</c:v>
                </c:pt>
                <c:pt idx="916">
                  <c:v>3.7572589999999999</c:v>
                </c:pt>
                <c:pt idx="917">
                  <c:v>3.9757180000000001</c:v>
                </c:pt>
                <c:pt idx="918">
                  <c:v>3.3266490000000002</c:v>
                </c:pt>
                <c:pt idx="919">
                  <c:v>3.168523</c:v>
                </c:pt>
                <c:pt idx="920">
                  <c:v>3.2815530000000002</c:v>
                </c:pt>
                <c:pt idx="921">
                  <c:v>3.6141770000000002</c:v>
                </c:pt>
                <c:pt idx="922">
                  <c:v>3.8509509999999998</c:v>
                </c:pt>
                <c:pt idx="923">
                  <c:v>3.6411929999999999</c:v>
                </c:pt>
                <c:pt idx="924">
                  <c:v>3.7954880000000002</c:v>
                </c:pt>
                <c:pt idx="925">
                  <c:v>4.102773</c:v>
                </c:pt>
                <c:pt idx="926">
                  <c:v>4.5758150000000004</c:v>
                </c:pt>
                <c:pt idx="927">
                  <c:v>3.7940320000000001</c:v>
                </c:pt>
                <c:pt idx="928">
                  <c:v>3.4060619999999999</c:v>
                </c:pt>
                <c:pt idx="929">
                  <c:v>3.4196149999999998</c:v>
                </c:pt>
                <c:pt idx="930">
                  <c:v>3.370714</c:v>
                </c:pt>
                <c:pt idx="931">
                  <c:v>3.4649969999999999</c:v>
                </c:pt>
                <c:pt idx="932">
                  <c:v>4.3647109999999998</c:v>
                </c:pt>
                <c:pt idx="933">
                  <c:v>3.397167</c:v>
                </c:pt>
                <c:pt idx="934">
                  <c:v>3.5674429999999999</c:v>
                </c:pt>
                <c:pt idx="935">
                  <c:v>3.7146170000000001</c:v>
                </c:pt>
                <c:pt idx="936">
                  <c:v>4.3515170000000003</c:v>
                </c:pt>
                <c:pt idx="937">
                  <c:v>4.1557500000000003</c:v>
                </c:pt>
                <c:pt idx="938">
                  <c:v>3.9845290000000002</c:v>
                </c:pt>
                <c:pt idx="939">
                  <c:v>4.2565949999999999</c:v>
                </c:pt>
                <c:pt idx="940">
                  <c:v>3.0719029999999998</c:v>
                </c:pt>
                <c:pt idx="941">
                  <c:v>2.91629</c:v>
                </c:pt>
                <c:pt idx="942">
                  <c:v>3.8537509999999999</c:v>
                </c:pt>
                <c:pt idx="943">
                  <c:v>3.760059</c:v>
                </c:pt>
                <c:pt idx="944">
                  <c:v>5.0509240000000002</c:v>
                </c:pt>
                <c:pt idx="945">
                  <c:v>4.4416130000000003</c:v>
                </c:pt>
                <c:pt idx="946">
                  <c:v>3.5581230000000001</c:v>
                </c:pt>
                <c:pt idx="947">
                  <c:v>2.7264900000000001</c:v>
                </c:pt>
                <c:pt idx="948">
                  <c:v>3.3358150000000002</c:v>
                </c:pt>
                <c:pt idx="949">
                  <c:v>2.5614919999999999</c:v>
                </c:pt>
                <c:pt idx="950">
                  <c:v>3.1674869999999999</c:v>
                </c:pt>
                <c:pt idx="951">
                  <c:v>2.5374300000000001</c:v>
                </c:pt>
                <c:pt idx="952">
                  <c:v>2.732872</c:v>
                </c:pt>
                <c:pt idx="953">
                  <c:v>2.8441320000000001</c:v>
                </c:pt>
                <c:pt idx="954">
                  <c:v>3.344074</c:v>
                </c:pt>
                <c:pt idx="955">
                  <c:v>4.6100029999999999</c:v>
                </c:pt>
                <c:pt idx="956">
                  <c:v>4.1336760000000004</c:v>
                </c:pt>
                <c:pt idx="957">
                  <c:v>2.883912</c:v>
                </c:pt>
                <c:pt idx="958">
                  <c:v>2.751039</c:v>
                </c:pt>
                <c:pt idx="959">
                  <c:v>2.7947160000000002</c:v>
                </c:pt>
                <c:pt idx="960">
                  <c:v>3.84301</c:v>
                </c:pt>
                <c:pt idx="961">
                  <c:v>2.8450959999999998</c:v>
                </c:pt>
                <c:pt idx="962">
                  <c:v>3.0723549999999999</c:v>
                </c:pt>
                <c:pt idx="963">
                  <c:v>2.17665</c:v>
                </c:pt>
                <c:pt idx="964">
                  <c:v>6.2838459999999996</c:v>
                </c:pt>
                <c:pt idx="965">
                  <c:v>6.6489089999999997</c:v>
                </c:pt>
                <c:pt idx="966">
                  <c:v>5.7123359999999996</c:v>
                </c:pt>
                <c:pt idx="967">
                  <c:v>4.3549049999999996</c:v>
                </c:pt>
                <c:pt idx="968">
                  <c:v>5.1477680000000001</c:v>
                </c:pt>
                <c:pt idx="969">
                  <c:v>5.6395169999999997</c:v>
                </c:pt>
                <c:pt idx="970">
                  <c:v>4.587561</c:v>
                </c:pt>
                <c:pt idx="971">
                  <c:v>4.3917590000000004</c:v>
                </c:pt>
                <c:pt idx="972">
                  <c:v>3.9994999999999998</c:v>
                </c:pt>
                <c:pt idx="973">
                  <c:v>4.709937</c:v>
                </c:pt>
                <c:pt idx="974">
                  <c:v>5.508318</c:v>
                </c:pt>
                <c:pt idx="975">
                  <c:v>2.554443</c:v>
                </c:pt>
                <c:pt idx="976">
                  <c:v>3.5491009999999998</c:v>
                </c:pt>
                <c:pt idx="977">
                  <c:v>3.834044</c:v>
                </c:pt>
                <c:pt idx="978">
                  <c:v>3.2572459999999999</c:v>
                </c:pt>
                <c:pt idx="979">
                  <c:v>5.677073</c:v>
                </c:pt>
                <c:pt idx="980">
                  <c:v>4.3547830000000003</c:v>
                </c:pt>
                <c:pt idx="981">
                  <c:v>2.9228640000000001</c:v>
                </c:pt>
                <c:pt idx="982">
                  <c:v>2.9883419999999998</c:v>
                </c:pt>
                <c:pt idx="983">
                  <c:v>3.2130589999999999</c:v>
                </c:pt>
                <c:pt idx="984">
                  <c:v>2.67753</c:v>
                </c:pt>
                <c:pt idx="985">
                  <c:v>2.828716</c:v>
                </c:pt>
                <c:pt idx="986">
                  <c:v>3.6604719999999999</c:v>
                </c:pt>
                <c:pt idx="987">
                  <c:v>5.3558310000000002</c:v>
                </c:pt>
                <c:pt idx="988">
                  <c:v>3.9855700000000001</c:v>
                </c:pt>
                <c:pt idx="989">
                  <c:v>4.4953960000000004</c:v>
                </c:pt>
                <c:pt idx="990">
                  <c:v>5.6682110000000003</c:v>
                </c:pt>
                <c:pt idx="991">
                  <c:v>4.2995190000000001</c:v>
                </c:pt>
                <c:pt idx="992">
                  <c:v>2.2304550000000001</c:v>
                </c:pt>
                <c:pt idx="993">
                  <c:v>2.5107979999999999</c:v>
                </c:pt>
                <c:pt idx="994">
                  <c:v>2.8673489999999999</c:v>
                </c:pt>
                <c:pt idx="995">
                  <c:v>3.462567</c:v>
                </c:pt>
                <c:pt idx="996">
                  <c:v>2.4498799999999998</c:v>
                </c:pt>
                <c:pt idx="997">
                  <c:v>1.440536</c:v>
                </c:pt>
                <c:pt idx="998">
                  <c:v>2.1972860000000001</c:v>
                </c:pt>
                <c:pt idx="999">
                  <c:v>2.4235899999999999</c:v>
                </c:pt>
                <c:pt idx="1000">
                  <c:v>3.5909200000000001</c:v>
                </c:pt>
                <c:pt idx="1001">
                  <c:v>3.1325059999999998</c:v>
                </c:pt>
                <c:pt idx="1002">
                  <c:v>1.5867709999999999</c:v>
                </c:pt>
                <c:pt idx="1003">
                  <c:v>1.3177080000000001</c:v>
                </c:pt>
                <c:pt idx="1004">
                  <c:v>2.0747640000000001</c:v>
                </c:pt>
                <c:pt idx="1005">
                  <c:v>1.195708</c:v>
                </c:pt>
                <c:pt idx="1006">
                  <c:v>2.6118049999999999</c:v>
                </c:pt>
                <c:pt idx="1007">
                  <c:v>3.2318720000000001</c:v>
                </c:pt>
                <c:pt idx="1008">
                  <c:v>3.6639629999999999</c:v>
                </c:pt>
                <c:pt idx="1009">
                  <c:v>3.669495</c:v>
                </c:pt>
                <c:pt idx="1010">
                  <c:v>2.5120629999999999</c:v>
                </c:pt>
                <c:pt idx="1011">
                  <c:v>1.9119200000000001</c:v>
                </c:pt>
                <c:pt idx="1012">
                  <c:v>4.1275440000000003</c:v>
                </c:pt>
                <c:pt idx="1013">
                  <c:v>3.4249909999999999</c:v>
                </c:pt>
                <c:pt idx="1014">
                  <c:v>5.5865850000000004</c:v>
                </c:pt>
                <c:pt idx="1015">
                  <c:v>3.0793020000000002</c:v>
                </c:pt>
                <c:pt idx="1016">
                  <c:v>3.0269620000000002</c:v>
                </c:pt>
                <c:pt idx="1017">
                  <c:v>3.32829</c:v>
                </c:pt>
                <c:pt idx="1018">
                  <c:v>4.7070980000000002</c:v>
                </c:pt>
                <c:pt idx="1019">
                  <c:v>5.9672200000000002</c:v>
                </c:pt>
                <c:pt idx="1020">
                  <c:v>4.9319439999999997</c:v>
                </c:pt>
                <c:pt idx="1021">
                  <c:v>3.3017989999999999</c:v>
                </c:pt>
                <c:pt idx="1022">
                  <c:v>3.1664729999999999</c:v>
                </c:pt>
                <c:pt idx="1023">
                  <c:v>2.718702</c:v>
                </c:pt>
                <c:pt idx="1024">
                  <c:v>4.7280030000000002</c:v>
                </c:pt>
                <c:pt idx="1025">
                  <c:v>4.4493710000000002</c:v>
                </c:pt>
                <c:pt idx="1026">
                  <c:v>3.1249060000000002</c:v>
                </c:pt>
                <c:pt idx="1027">
                  <c:v>3.8177530000000002</c:v>
                </c:pt>
                <c:pt idx="1028">
                  <c:v>3.3882690000000002</c:v>
                </c:pt>
                <c:pt idx="1029">
                  <c:v>2.8398789999999998</c:v>
                </c:pt>
                <c:pt idx="1030">
                  <c:v>3.7105640000000002</c:v>
                </c:pt>
                <c:pt idx="1031">
                  <c:v>3.6245530000000001</c:v>
                </c:pt>
                <c:pt idx="1032">
                  <c:v>4.3030359999999996</c:v>
                </c:pt>
                <c:pt idx="1033">
                  <c:v>6.137613</c:v>
                </c:pt>
                <c:pt idx="1034">
                  <c:v>4.5241420000000003</c:v>
                </c:pt>
                <c:pt idx="1035">
                  <c:v>4.5544229999999999</c:v>
                </c:pt>
                <c:pt idx="1036">
                  <c:v>2.6909429999999999</c:v>
                </c:pt>
                <c:pt idx="1037">
                  <c:v>3.4730150000000002</c:v>
                </c:pt>
                <c:pt idx="1038">
                  <c:v>3.4738090000000001</c:v>
                </c:pt>
                <c:pt idx="1039">
                  <c:v>1.4205080000000001</c:v>
                </c:pt>
                <c:pt idx="1040">
                  <c:v>4.1677229999999996</c:v>
                </c:pt>
                <c:pt idx="1041">
                  <c:v>3.712755</c:v>
                </c:pt>
                <c:pt idx="1042">
                  <c:v>3.9236309999999999</c:v>
                </c:pt>
                <c:pt idx="1043">
                  <c:v>4.2436790000000002</c:v>
                </c:pt>
                <c:pt idx="1044">
                  <c:v>3.898717</c:v>
                </c:pt>
                <c:pt idx="1045">
                  <c:v>3.0687509999999998</c:v>
                </c:pt>
                <c:pt idx="1046">
                  <c:v>2.870641</c:v>
                </c:pt>
                <c:pt idx="1047">
                  <c:v>6.0418089999999998</c:v>
                </c:pt>
                <c:pt idx="1048">
                  <c:v>4.0148970000000004</c:v>
                </c:pt>
                <c:pt idx="1049">
                  <c:v>2.7446419999999998</c:v>
                </c:pt>
                <c:pt idx="1050">
                  <c:v>5.2157450000000001</c:v>
                </c:pt>
                <c:pt idx="1051">
                  <c:v>3.670105</c:v>
                </c:pt>
                <c:pt idx="1052">
                  <c:v>5.727608</c:v>
                </c:pt>
                <c:pt idx="1053">
                  <c:v>3.8170289999999998</c:v>
                </c:pt>
                <c:pt idx="1054">
                  <c:v>3.5065219999999999</c:v>
                </c:pt>
                <c:pt idx="1055">
                  <c:v>4.5595929999999996</c:v>
                </c:pt>
                <c:pt idx="1056">
                  <c:v>5.4600099999999996</c:v>
                </c:pt>
                <c:pt idx="1057">
                  <c:v>3.741676</c:v>
                </c:pt>
                <c:pt idx="1058">
                  <c:v>3.074408</c:v>
                </c:pt>
                <c:pt idx="1059">
                  <c:v>3.4852310000000002</c:v>
                </c:pt>
                <c:pt idx="1060">
                  <c:v>2.8413179999999998</c:v>
                </c:pt>
                <c:pt idx="1061">
                  <c:v>2.8817710000000001</c:v>
                </c:pt>
                <c:pt idx="1062">
                  <c:v>4.0041479999999998</c:v>
                </c:pt>
                <c:pt idx="1063">
                  <c:v>4.123405</c:v>
                </c:pt>
                <c:pt idx="1064">
                  <c:v>3.275369</c:v>
                </c:pt>
                <c:pt idx="1065">
                  <c:v>3.0460929999999999</c:v>
                </c:pt>
                <c:pt idx="1066">
                  <c:v>3.8467129999999998</c:v>
                </c:pt>
                <c:pt idx="1067">
                  <c:v>3.0888589999999998</c:v>
                </c:pt>
                <c:pt idx="1068">
                  <c:v>4.5240729999999996</c:v>
                </c:pt>
                <c:pt idx="1069">
                  <c:v>3.1654960000000001</c:v>
                </c:pt>
                <c:pt idx="1070">
                  <c:v>3.3114249999999998</c:v>
                </c:pt>
                <c:pt idx="1071">
                  <c:v>3.2236470000000002</c:v>
                </c:pt>
                <c:pt idx="1072">
                  <c:v>3.042033</c:v>
                </c:pt>
                <c:pt idx="1073">
                  <c:v>1.742615</c:v>
                </c:pt>
                <c:pt idx="1074">
                  <c:v>2.41927</c:v>
                </c:pt>
                <c:pt idx="1075">
                  <c:v>2.80796</c:v>
                </c:pt>
                <c:pt idx="1076">
                  <c:v>3.3068520000000001</c:v>
                </c:pt>
                <c:pt idx="1077">
                  <c:v>2.3688929999999999</c:v>
                </c:pt>
                <c:pt idx="1078">
                  <c:v>2.8285779999999998</c:v>
                </c:pt>
                <c:pt idx="1079">
                  <c:v>3.4093550000000001</c:v>
                </c:pt>
                <c:pt idx="1080">
                  <c:v>3.1124239999999999</c:v>
                </c:pt>
                <c:pt idx="1081">
                  <c:v>4.0410060000000003</c:v>
                </c:pt>
                <c:pt idx="1082">
                  <c:v>3.8843760000000001</c:v>
                </c:pt>
                <c:pt idx="1083">
                  <c:v>3.2946209999999998</c:v>
                </c:pt>
                <c:pt idx="1084">
                  <c:v>2.2588279999999998</c:v>
                </c:pt>
                <c:pt idx="1085">
                  <c:v>2.5380669999999999</c:v>
                </c:pt>
                <c:pt idx="1086">
                  <c:v>5.0077020000000001</c:v>
                </c:pt>
                <c:pt idx="1087">
                  <c:v>5.133184</c:v>
                </c:pt>
                <c:pt idx="1088">
                  <c:v>2.9512269999999998</c:v>
                </c:pt>
                <c:pt idx="1089">
                  <c:v>3.4345309999999998</c:v>
                </c:pt>
                <c:pt idx="1090">
                  <c:v>2.4027319999999999</c:v>
                </c:pt>
                <c:pt idx="1091">
                  <c:v>3.4190130000000001</c:v>
                </c:pt>
                <c:pt idx="1092">
                  <c:v>2.81379</c:v>
                </c:pt>
                <c:pt idx="1093">
                  <c:v>3.5936330000000001</c:v>
                </c:pt>
                <c:pt idx="1094">
                  <c:v>6.5348110000000004</c:v>
                </c:pt>
                <c:pt idx="1095">
                  <c:v>3.4360490000000001</c:v>
                </c:pt>
                <c:pt idx="1096">
                  <c:v>3.6873499999999999</c:v>
                </c:pt>
                <c:pt idx="1097">
                  <c:v>3.9865140000000001</c:v>
                </c:pt>
                <c:pt idx="1098">
                  <c:v>3.7607780000000002</c:v>
                </c:pt>
                <c:pt idx="1099">
                  <c:v>4.9348720000000004</c:v>
                </c:pt>
                <c:pt idx="1100">
                  <c:v>3.462466</c:v>
                </c:pt>
                <c:pt idx="1101">
                  <c:v>2.6866490000000001</c:v>
                </c:pt>
                <c:pt idx="1102">
                  <c:v>2.4270860000000001</c:v>
                </c:pt>
                <c:pt idx="1103">
                  <c:v>3.1024090000000002</c:v>
                </c:pt>
                <c:pt idx="1104">
                  <c:v>2.9694799999999999</c:v>
                </c:pt>
                <c:pt idx="1105">
                  <c:v>3.355289</c:v>
                </c:pt>
                <c:pt idx="1106">
                  <c:v>2.7155529999999999</c:v>
                </c:pt>
                <c:pt idx="1107">
                  <c:v>2.701584</c:v>
                </c:pt>
                <c:pt idx="1108">
                  <c:v>4.0546800000000003</c:v>
                </c:pt>
                <c:pt idx="1109">
                  <c:v>2.5671249999999999</c:v>
                </c:pt>
                <c:pt idx="1110">
                  <c:v>2.1465179999999999</c:v>
                </c:pt>
                <c:pt idx="1111">
                  <c:v>2.5904470000000002</c:v>
                </c:pt>
                <c:pt idx="1112">
                  <c:v>4.6747009999999998</c:v>
                </c:pt>
                <c:pt idx="1113">
                  <c:v>5.5162449999999996</c:v>
                </c:pt>
                <c:pt idx="1114">
                  <c:v>3.9320550000000001</c:v>
                </c:pt>
                <c:pt idx="1115">
                  <c:v>4.1767799999999999</c:v>
                </c:pt>
                <c:pt idx="1116">
                  <c:v>6.2742339999999999</c:v>
                </c:pt>
                <c:pt idx="1117">
                  <c:v>6.1400069999999998</c:v>
                </c:pt>
                <c:pt idx="1118">
                  <c:v>4.8533860000000004</c:v>
                </c:pt>
                <c:pt idx="1119">
                  <c:v>3.667278</c:v>
                </c:pt>
                <c:pt idx="1120">
                  <c:v>3.5807730000000002</c:v>
                </c:pt>
                <c:pt idx="1121">
                  <c:v>3.75569</c:v>
                </c:pt>
                <c:pt idx="1122">
                  <c:v>4.079561</c:v>
                </c:pt>
                <c:pt idx="1123">
                  <c:v>3.6877219999999999</c:v>
                </c:pt>
                <c:pt idx="1124">
                  <c:v>3.1479059999999999</c:v>
                </c:pt>
                <c:pt idx="1125">
                  <c:v>2.4876109999999998</c:v>
                </c:pt>
                <c:pt idx="1126">
                  <c:v>1.8394889999999999</c:v>
                </c:pt>
                <c:pt idx="1127">
                  <c:v>4.7964989999999998</c:v>
                </c:pt>
                <c:pt idx="1128">
                  <c:v>4.0026700000000002</c:v>
                </c:pt>
                <c:pt idx="1129">
                  <c:v>4.2389809999999999</c:v>
                </c:pt>
                <c:pt idx="1130">
                  <c:v>2.500006</c:v>
                </c:pt>
                <c:pt idx="1131">
                  <c:v>3.26817</c:v>
                </c:pt>
                <c:pt idx="1132">
                  <c:v>3.9931399999999999</c:v>
                </c:pt>
                <c:pt idx="1133">
                  <c:v>3.4059400000000002</c:v>
                </c:pt>
                <c:pt idx="1134">
                  <c:v>3.9287570000000001</c:v>
                </c:pt>
                <c:pt idx="1135">
                  <c:v>3.0188060000000001</c:v>
                </c:pt>
                <c:pt idx="1136">
                  <c:v>2.699659</c:v>
                </c:pt>
                <c:pt idx="1137">
                  <c:v>2.9805570000000001</c:v>
                </c:pt>
                <c:pt idx="1138">
                  <c:v>2.5733299999999999</c:v>
                </c:pt>
                <c:pt idx="1139">
                  <c:v>2.523498</c:v>
                </c:pt>
                <c:pt idx="1140">
                  <c:v>4.038843</c:v>
                </c:pt>
                <c:pt idx="1141">
                  <c:v>3.2363970000000002</c:v>
                </c:pt>
                <c:pt idx="1142">
                  <c:v>2.6071460000000002</c:v>
                </c:pt>
                <c:pt idx="1143">
                  <c:v>3.1685979999999998</c:v>
                </c:pt>
                <c:pt idx="1144">
                  <c:v>2.523787</c:v>
                </c:pt>
                <c:pt idx="1145">
                  <c:v>3.7196880000000001</c:v>
                </c:pt>
                <c:pt idx="1146">
                  <c:v>2.8982510000000001</c:v>
                </c:pt>
                <c:pt idx="1147">
                  <c:v>3.4089489999999998</c:v>
                </c:pt>
                <c:pt idx="1148">
                  <c:v>3.4364720000000002</c:v>
                </c:pt>
                <c:pt idx="1149">
                  <c:v>2.9104019999999999</c:v>
                </c:pt>
                <c:pt idx="1150">
                  <c:v>2.8314469999999998</c:v>
                </c:pt>
                <c:pt idx="1151">
                  <c:v>2.8899080000000001</c:v>
                </c:pt>
                <c:pt idx="1152">
                  <c:v>3.005986</c:v>
                </c:pt>
                <c:pt idx="1153">
                  <c:v>3.5576319999999999</c:v>
                </c:pt>
                <c:pt idx="1154">
                  <c:v>3.0348799999999998</c:v>
                </c:pt>
                <c:pt idx="1155">
                  <c:v>2.6161850000000002</c:v>
                </c:pt>
                <c:pt idx="1156">
                  <c:v>2.4900259999999999</c:v>
                </c:pt>
                <c:pt idx="1157">
                  <c:v>2.7985509999999998</c:v>
                </c:pt>
                <c:pt idx="1158">
                  <c:v>3.1310709999999999</c:v>
                </c:pt>
                <c:pt idx="1159">
                  <c:v>2.644701</c:v>
                </c:pt>
                <c:pt idx="1160">
                  <c:v>2.239932</c:v>
                </c:pt>
                <c:pt idx="1161">
                  <c:v>2.0771570000000001</c:v>
                </c:pt>
                <c:pt idx="1162">
                  <c:v>2.124714</c:v>
                </c:pt>
                <c:pt idx="1163">
                  <c:v>2.0643959999999999</c:v>
                </c:pt>
                <c:pt idx="1164">
                  <c:v>2.9222100000000002</c:v>
                </c:pt>
                <c:pt idx="1165">
                  <c:v>2.4926539999999999</c:v>
                </c:pt>
                <c:pt idx="1166">
                  <c:v>3.1981929999999998</c:v>
                </c:pt>
                <c:pt idx="1167">
                  <c:v>3.3493979999999999</c:v>
                </c:pt>
                <c:pt idx="1168">
                  <c:v>2.898863</c:v>
                </c:pt>
                <c:pt idx="1169">
                  <c:v>4.0818899999999996</c:v>
                </c:pt>
                <c:pt idx="1170">
                  <c:v>1.965401</c:v>
                </c:pt>
                <c:pt idx="1171">
                  <c:v>3.590722</c:v>
                </c:pt>
                <c:pt idx="1172">
                  <c:v>2.6602929999999998</c:v>
                </c:pt>
                <c:pt idx="1173">
                  <c:v>3.2670590000000002</c:v>
                </c:pt>
                <c:pt idx="1174">
                  <c:v>3.5323009999999999</c:v>
                </c:pt>
                <c:pt idx="1175">
                  <c:v>2.549655</c:v>
                </c:pt>
                <c:pt idx="1176">
                  <c:v>3.403403</c:v>
                </c:pt>
                <c:pt idx="1177">
                  <c:v>3.495717</c:v>
                </c:pt>
                <c:pt idx="1178">
                  <c:v>2.8555199999999998</c:v>
                </c:pt>
                <c:pt idx="1179">
                  <c:v>3.3783280000000002</c:v>
                </c:pt>
                <c:pt idx="1180">
                  <c:v>2.56298</c:v>
                </c:pt>
                <c:pt idx="1181">
                  <c:v>3.0721889999999998</c:v>
                </c:pt>
                <c:pt idx="1182">
                  <c:v>3.8328739999999999</c:v>
                </c:pt>
                <c:pt idx="1183">
                  <c:v>3.1101190000000001</c:v>
                </c:pt>
                <c:pt idx="1184">
                  <c:v>2.711751</c:v>
                </c:pt>
                <c:pt idx="1185">
                  <c:v>3.8922189999999999</c:v>
                </c:pt>
                <c:pt idx="1186">
                  <c:v>3.7346650000000001</c:v>
                </c:pt>
                <c:pt idx="1187">
                  <c:v>5.0869980000000004</c:v>
                </c:pt>
                <c:pt idx="1188">
                  <c:v>3.8739349999999999</c:v>
                </c:pt>
                <c:pt idx="1189">
                  <c:v>3.0449009999999999</c:v>
                </c:pt>
                <c:pt idx="1190">
                  <c:v>2.2937479999999999</c:v>
                </c:pt>
                <c:pt idx="1191">
                  <c:v>2.4183659999999998</c:v>
                </c:pt>
                <c:pt idx="1192">
                  <c:v>2.1525970000000001</c:v>
                </c:pt>
                <c:pt idx="1193">
                  <c:v>2.56216</c:v>
                </c:pt>
                <c:pt idx="1194">
                  <c:v>3.60541</c:v>
                </c:pt>
                <c:pt idx="1195">
                  <c:v>2.394638</c:v>
                </c:pt>
                <c:pt idx="1196">
                  <c:v>2.5403280000000001</c:v>
                </c:pt>
                <c:pt idx="1197">
                  <c:v>2.9875400000000001</c:v>
                </c:pt>
                <c:pt idx="1198">
                  <c:v>2.3262939999999999</c:v>
                </c:pt>
                <c:pt idx="1199">
                  <c:v>3.4893640000000001</c:v>
                </c:pt>
                <c:pt idx="1200">
                  <c:v>2.104816</c:v>
                </c:pt>
                <c:pt idx="1201">
                  <c:v>2.5239280000000002</c:v>
                </c:pt>
                <c:pt idx="1202">
                  <c:v>2.6683249999999998</c:v>
                </c:pt>
                <c:pt idx="1203">
                  <c:v>3.043291</c:v>
                </c:pt>
                <c:pt idx="1204">
                  <c:v>2.9304139999999999</c:v>
                </c:pt>
                <c:pt idx="1205">
                  <c:v>2.2381820000000001</c:v>
                </c:pt>
                <c:pt idx="1206">
                  <c:v>3.3661319999999999</c:v>
                </c:pt>
                <c:pt idx="1207">
                  <c:v>3.8025359999999999</c:v>
                </c:pt>
                <c:pt idx="1208">
                  <c:v>3.2395930000000002</c:v>
                </c:pt>
                <c:pt idx="1209">
                  <c:v>5.9111070000000003</c:v>
                </c:pt>
                <c:pt idx="1210">
                  <c:v>3.393904</c:v>
                </c:pt>
                <c:pt idx="1211">
                  <c:v>3.8968389999999999</c:v>
                </c:pt>
                <c:pt idx="1212">
                  <c:v>3.2549250000000001</c:v>
                </c:pt>
                <c:pt idx="1213">
                  <c:v>2.453589</c:v>
                </c:pt>
                <c:pt idx="1214">
                  <c:v>5.086398</c:v>
                </c:pt>
                <c:pt idx="1215">
                  <c:v>4.725066</c:v>
                </c:pt>
                <c:pt idx="1216">
                  <c:v>4.5170899999999996</c:v>
                </c:pt>
                <c:pt idx="1217">
                  <c:v>3.4937499999999999</c:v>
                </c:pt>
                <c:pt idx="1218">
                  <c:v>2.6542210000000002</c:v>
                </c:pt>
                <c:pt idx="1219">
                  <c:v>3.1726730000000001</c:v>
                </c:pt>
                <c:pt idx="1220">
                  <c:v>4.2918399999999997</c:v>
                </c:pt>
                <c:pt idx="1221">
                  <c:v>3.7913039999999998</c:v>
                </c:pt>
                <c:pt idx="1222">
                  <c:v>3.5332629999999998</c:v>
                </c:pt>
                <c:pt idx="1223">
                  <c:v>2.9915319999999999</c:v>
                </c:pt>
                <c:pt idx="1224">
                  <c:v>2.7633619999999999</c:v>
                </c:pt>
                <c:pt idx="1225">
                  <c:v>2.424607</c:v>
                </c:pt>
                <c:pt idx="1226">
                  <c:v>3.4271660000000002</c:v>
                </c:pt>
                <c:pt idx="1227">
                  <c:v>2.486294</c:v>
                </c:pt>
                <c:pt idx="1228">
                  <c:v>2.4989620000000001</c:v>
                </c:pt>
                <c:pt idx="1229">
                  <c:v>2.5474250000000001</c:v>
                </c:pt>
                <c:pt idx="1230">
                  <c:v>3.0171579999999998</c:v>
                </c:pt>
                <c:pt idx="1231">
                  <c:v>3.041957</c:v>
                </c:pt>
                <c:pt idx="1232">
                  <c:v>3.8425699999999998</c:v>
                </c:pt>
                <c:pt idx="1233">
                  <c:v>3.1639710000000001</c:v>
                </c:pt>
                <c:pt idx="1234">
                  <c:v>2.4204699999999999</c:v>
                </c:pt>
                <c:pt idx="1235">
                  <c:v>2.4709750000000001</c:v>
                </c:pt>
                <c:pt idx="1236">
                  <c:v>2.651789</c:v>
                </c:pt>
                <c:pt idx="1237">
                  <c:v>3.0440839999999998</c:v>
                </c:pt>
                <c:pt idx="1238">
                  <c:v>2.5674410000000001</c:v>
                </c:pt>
                <c:pt idx="1239">
                  <c:v>2.1161159999999999</c:v>
                </c:pt>
                <c:pt idx="1240">
                  <c:v>2.775782</c:v>
                </c:pt>
                <c:pt idx="1241">
                  <c:v>2.9449920000000001</c:v>
                </c:pt>
                <c:pt idx="1242">
                  <c:v>2.6367189999999998</c:v>
                </c:pt>
                <c:pt idx="1243">
                  <c:v>2.7819020000000001</c:v>
                </c:pt>
                <c:pt idx="1244">
                  <c:v>2.0080559999999998</c:v>
                </c:pt>
                <c:pt idx="1245">
                  <c:v>2.624288</c:v>
                </c:pt>
                <c:pt idx="1246">
                  <c:v>2.33446</c:v>
                </c:pt>
                <c:pt idx="1247">
                  <c:v>2.4130240000000001</c:v>
                </c:pt>
                <c:pt idx="1248">
                  <c:v>2.3524449999999999</c:v>
                </c:pt>
                <c:pt idx="1249">
                  <c:v>1.62077</c:v>
                </c:pt>
                <c:pt idx="1250">
                  <c:v>2.7813279999999998</c:v>
                </c:pt>
                <c:pt idx="1251">
                  <c:v>3.6849409999999998</c:v>
                </c:pt>
                <c:pt idx="1252">
                  <c:v>3.1610429999999998</c:v>
                </c:pt>
                <c:pt idx="1253">
                  <c:v>1.917036</c:v>
                </c:pt>
                <c:pt idx="1254">
                  <c:v>0.61563199999999996</c:v>
                </c:pt>
                <c:pt idx="1255">
                  <c:v>0.71063500000000002</c:v>
                </c:pt>
                <c:pt idx="1256">
                  <c:v>0.53933799999999998</c:v>
                </c:pt>
                <c:pt idx="1257">
                  <c:v>2.7194889999999998</c:v>
                </c:pt>
                <c:pt idx="1258">
                  <c:v>3.0189490000000001</c:v>
                </c:pt>
                <c:pt idx="1259">
                  <c:v>2.6074540000000002</c:v>
                </c:pt>
                <c:pt idx="1260">
                  <c:v>2.874136</c:v>
                </c:pt>
                <c:pt idx="1261">
                  <c:v>2.9979439999999999</c:v>
                </c:pt>
                <c:pt idx="1262">
                  <c:v>2.826092</c:v>
                </c:pt>
                <c:pt idx="1263">
                  <c:v>4.3257620000000001</c:v>
                </c:pt>
                <c:pt idx="1264">
                  <c:v>2.9193829999999998</c:v>
                </c:pt>
                <c:pt idx="1265">
                  <c:v>2.4559039999999999</c:v>
                </c:pt>
                <c:pt idx="1266">
                  <c:v>2.3044570000000002</c:v>
                </c:pt>
                <c:pt idx="1267">
                  <c:v>3.3797039999999998</c:v>
                </c:pt>
                <c:pt idx="1268">
                  <c:v>3.0682740000000002</c:v>
                </c:pt>
                <c:pt idx="1269">
                  <c:v>4.1947409999999996</c:v>
                </c:pt>
                <c:pt idx="1270">
                  <c:v>2.9352260000000001</c:v>
                </c:pt>
                <c:pt idx="1271">
                  <c:v>3.413821</c:v>
                </c:pt>
                <c:pt idx="1272">
                  <c:v>3.6265589999999999</c:v>
                </c:pt>
                <c:pt idx="1273">
                  <c:v>2.73861</c:v>
                </c:pt>
                <c:pt idx="1274">
                  <c:v>3.126293</c:v>
                </c:pt>
                <c:pt idx="1275">
                  <c:v>4.3192269999999997</c:v>
                </c:pt>
                <c:pt idx="1276">
                  <c:v>3.9048799999999999</c:v>
                </c:pt>
                <c:pt idx="1277">
                  <c:v>4.911683</c:v>
                </c:pt>
                <c:pt idx="1278">
                  <c:v>4.1236379999999997</c:v>
                </c:pt>
                <c:pt idx="1279">
                  <c:v>5.6502850000000002</c:v>
                </c:pt>
                <c:pt idx="1280">
                  <c:v>5.7858539999999996</c:v>
                </c:pt>
                <c:pt idx="1281">
                  <c:v>3.479908</c:v>
                </c:pt>
                <c:pt idx="1282">
                  <c:v>3.0744880000000001</c:v>
                </c:pt>
                <c:pt idx="1283">
                  <c:v>5.1894270000000002</c:v>
                </c:pt>
                <c:pt idx="1284">
                  <c:v>3.7722549999999999</c:v>
                </c:pt>
                <c:pt idx="1285">
                  <c:v>3.214588</c:v>
                </c:pt>
                <c:pt idx="1286">
                  <c:v>2.3761450000000002</c:v>
                </c:pt>
                <c:pt idx="1287">
                  <c:v>2.9581819999999999</c:v>
                </c:pt>
                <c:pt idx="1288">
                  <c:v>2.5122230000000001</c:v>
                </c:pt>
                <c:pt idx="1289">
                  <c:v>2.7209129999999999</c:v>
                </c:pt>
                <c:pt idx="1290">
                  <c:v>3.96698</c:v>
                </c:pt>
                <c:pt idx="1291">
                  <c:v>3.577337</c:v>
                </c:pt>
                <c:pt idx="1292">
                  <c:v>3.4342009999999998</c:v>
                </c:pt>
                <c:pt idx="1293">
                  <c:v>4.9284809999999997</c:v>
                </c:pt>
                <c:pt idx="1294">
                  <c:v>4.3106369999999998</c:v>
                </c:pt>
                <c:pt idx="1295">
                  <c:v>3.5256150000000002</c:v>
                </c:pt>
                <c:pt idx="1296">
                  <c:v>3.4407290000000001</c:v>
                </c:pt>
                <c:pt idx="1297">
                  <c:v>2.8887939999999999</c:v>
                </c:pt>
                <c:pt idx="1298">
                  <c:v>1.0515779999999999</c:v>
                </c:pt>
                <c:pt idx="1299">
                  <c:v>2.5960909999999999</c:v>
                </c:pt>
                <c:pt idx="1300">
                  <c:v>3.2582629999999999</c:v>
                </c:pt>
                <c:pt idx="1301">
                  <c:v>3.2351839999999998</c:v>
                </c:pt>
                <c:pt idx="1302">
                  <c:v>4.131589</c:v>
                </c:pt>
                <c:pt idx="1303">
                  <c:v>3.9552049999999999</c:v>
                </c:pt>
                <c:pt idx="1304">
                  <c:v>3.7595770000000002</c:v>
                </c:pt>
                <c:pt idx="1305">
                  <c:v>3.259684</c:v>
                </c:pt>
                <c:pt idx="1306">
                  <c:v>3.233714</c:v>
                </c:pt>
                <c:pt idx="1307">
                  <c:v>3.7665250000000001</c:v>
                </c:pt>
                <c:pt idx="1308">
                  <c:v>3.738073</c:v>
                </c:pt>
                <c:pt idx="1309">
                  <c:v>3.705371</c:v>
                </c:pt>
                <c:pt idx="1310">
                  <c:v>3.070757</c:v>
                </c:pt>
                <c:pt idx="1311">
                  <c:v>3.3286519999999999</c:v>
                </c:pt>
                <c:pt idx="1312">
                  <c:v>3.3062990000000001</c:v>
                </c:pt>
                <c:pt idx="1313">
                  <c:v>2.2259380000000002</c:v>
                </c:pt>
                <c:pt idx="1314">
                  <c:v>1.8005880000000001</c:v>
                </c:pt>
                <c:pt idx="1315">
                  <c:v>2.5628320000000002</c:v>
                </c:pt>
                <c:pt idx="1316">
                  <c:v>3.0804010000000002</c:v>
                </c:pt>
                <c:pt idx="1317">
                  <c:v>2.8211750000000002</c:v>
                </c:pt>
                <c:pt idx="1318">
                  <c:v>3.8911180000000001</c:v>
                </c:pt>
                <c:pt idx="1319">
                  <c:v>9.7705769999999994</c:v>
                </c:pt>
                <c:pt idx="1320">
                  <c:v>9.7011489999999991</c:v>
                </c:pt>
                <c:pt idx="1321">
                  <c:v>8.5034510000000001</c:v>
                </c:pt>
                <c:pt idx="1322">
                  <c:v>4.9276960000000001</c:v>
                </c:pt>
                <c:pt idx="1323">
                  <c:v>3.8134960000000002</c:v>
                </c:pt>
                <c:pt idx="1324">
                  <c:v>4.1437030000000004</c:v>
                </c:pt>
                <c:pt idx="1325">
                  <c:v>4.4189509999999999</c:v>
                </c:pt>
                <c:pt idx="1326">
                  <c:v>3.7742439999999999</c:v>
                </c:pt>
                <c:pt idx="1327">
                  <c:v>3.5595270000000001</c:v>
                </c:pt>
                <c:pt idx="1328">
                  <c:v>2.8201640000000001</c:v>
                </c:pt>
                <c:pt idx="1329">
                  <c:v>4.125839</c:v>
                </c:pt>
                <c:pt idx="1330">
                  <c:v>3.2672889999999999</c:v>
                </c:pt>
                <c:pt idx="1331">
                  <c:v>4.3432890000000004</c:v>
                </c:pt>
                <c:pt idx="1332">
                  <c:v>4.8628819999999999</c:v>
                </c:pt>
                <c:pt idx="1333">
                  <c:v>3.1986180000000002</c:v>
                </c:pt>
                <c:pt idx="1334">
                  <c:v>0.90693199999999996</c:v>
                </c:pt>
                <c:pt idx="1335">
                  <c:v>0.74268900000000004</c:v>
                </c:pt>
                <c:pt idx="1336">
                  <c:v>1.2543029999999999</c:v>
                </c:pt>
                <c:pt idx="1337">
                  <c:v>3.9531040000000002</c:v>
                </c:pt>
                <c:pt idx="1338">
                  <c:v>3.8182019999999999</c:v>
                </c:pt>
                <c:pt idx="1339">
                  <c:v>2.627189</c:v>
                </c:pt>
                <c:pt idx="1340">
                  <c:v>3.1786300000000001</c:v>
                </c:pt>
                <c:pt idx="1341">
                  <c:v>3.7508400000000002</c:v>
                </c:pt>
                <c:pt idx="1342">
                  <c:v>3.4555989999999999</c:v>
                </c:pt>
                <c:pt idx="1343">
                  <c:v>2.710178</c:v>
                </c:pt>
                <c:pt idx="1344">
                  <c:v>5.5244450000000001</c:v>
                </c:pt>
                <c:pt idx="1345">
                  <c:v>4.1320399999999999</c:v>
                </c:pt>
                <c:pt idx="1346">
                  <c:v>2.907133</c:v>
                </c:pt>
                <c:pt idx="1347">
                  <c:v>3.486418</c:v>
                </c:pt>
                <c:pt idx="1348">
                  <c:v>4.006983</c:v>
                </c:pt>
                <c:pt idx="1349">
                  <c:v>4.4008339999999997</c:v>
                </c:pt>
                <c:pt idx="1350">
                  <c:v>4.5736889999999999</c:v>
                </c:pt>
                <c:pt idx="1351">
                  <c:v>3.4241739999999998</c:v>
                </c:pt>
                <c:pt idx="1352">
                  <c:v>4.0633239999999997</c:v>
                </c:pt>
                <c:pt idx="1353">
                  <c:v>2.1212610000000001</c:v>
                </c:pt>
                <c:pt idx="1354">
                  <c:v>4.1680539999999997</c:v>
                </c:pt>
                <c:pt idx="1355">
                  <c:v>3.4384730000000001</c:v>
                </c:pt>
                <c:pt idx="1356">
                  <c:v>4.1451310000000001</c:v>
                </c:pt>
                <c:pt idx="1357">
                  <c:v>2.9187349999999999</c:v>
                </c:pt>
                <c:pt idx="1358">
                  <c:v>2.153394</c:v>
                </c:pt>
                <c:pt idx="1359">
                  <c:v>3.615866</c:v>
                </c:pt>
                <c:pt idx="1360">
                  <c:v>3.0989939999999998</c:v>
                </c:pt>
                <c:pt idx="1361">
                  <c:v>3.581315</c:v>
                </c:pt>
                <c:pt idx="1362">
                  <c:v>4.6103399999999999</c:v>
                </c:pt>
                <c:pt idx="1363">
                  <c:v>0.31501000000000001</c:v>
                </c:pt>
                <c:pt idx="1364">
                  <c:v>0.76567099999999999</c:v>
                </c:pt>
                <c:pt idx="1365">
                  <c:v>4.0695329999999998</c:v>
                </c:pt>
                <c:pt idx="1366">
                  <c:v>4.3358559999999997</c:v>
                </c:pt>
                <c:pt idx="1367">
                  <c:v>3.9857849999999999</c:v>
                </c:pt>
                <c:pt idx="1368">
                  <c:v>4.0611649999999999</c:v>
                </c:pt>
                <c:pt idx="1369">
                  <c:v>5.0295629999999996</c:v>
                </c:pt>
                <c:pt idx="1370">
                  <c:v>3.0648939999999998</c:v>
                </c:pt>
                <c:pt idx="1371">
                  <c:v>3.6891539999999998</c:v>
                </c:pt>
                <c:pt idx="1372">
                  <c:v>3.4929619999999999</c:v>
                </c:pt>
                <c:pt idx="1373">
                  <c:v>3.8671700000000002</c:v>
                </c:pt>
                <c:pt idx="1374">
                  <c:v>3.6637110000000002</c:v>
                </c:pt>
                <c:pt idx="1375">
                  <c:v>3.5266359999999999</c:v>
                </c:pt>
                <c:pt idx="1376">
                  <c:v>3.5470679999999999</c:v>
                </c:pt>
                <c:pt idx="1377">
                  <c:v>3.1101450000000002</c:v>
                </c:pt>
                <c:pt idx="1378">
                  <c:v>2.9093249999999999</c:v>
                </c:pt>
                <c:pt idx="1379">
                  <c:v>2.4999509999999998</c:v>
                </c:pt>
                <c:pt idx="1380">
                  <c:v>1.845221</c:v>
                </c:pt>
                <c:pt idx="1381">
                  <c:v>2.768599</c:v>
                </c:pt>
                <c:pt idx="1382">
                  <c:v>2.4869349999999999</c:v>
                </c:pt>
                <c:pt idx="1383">
                  <c:v>2.7012559999999999</c:v>
                </c:pt>
                <c:pt idx="1384">
                  <c:v>3.4954540000000001</c:v>
                </c:pt>
                <c:pt idx="1385">
                  <c:v>4.7140930000000001</c:v>
                </c:pt>
                <c:pt idx="1386">
                  <c:v>3.7523919999999999</c:v>
                </c:pt>
                <c:pt idx="1387">
                  <c:v>3.0751400000000002</c:v>
                </c:pt>
                <c:pt idx="1388">
                  <c:v>2.4975830000000001</c:v>
                </c:pt>
                <c:pt idx="1389">
                  <c:v>3.2130260000000002</c:v>
                </c:pt>
                <c:pt idx="1390">
                  <c:v>3.6049609999999999</c:v>
                </c:pt>
                <c:pt idx="1391">
                  <c:v>4.2697570000000002</c:v>
                </c:pt>
                <c:pt idx="1392">
                  <c:v>3.0287289999999998</c:v>
                </c:pt>
                <c:pt idx="1393">
                  <c:v>3.2054010000000002</c:v>
                </c:pt>
                <c:pt idx="1394">
                  <c:v>3.870088</c:v>
                </c:pt>
                <c:pt idx="1395">
                  <c:v>3.0808749999999998</c:v>
                </c:pt>
                <c:pt idx="1396">
                  <c:v>2.757679</c:v>
                </c:pt>
                <c:pt idx="1397">
                  <c:v>2.2083469999999998</c:v>
                </c:pt>
                <c:pt idx="1398">
                  <c:v>2.6217130000000002</c:v>
                </c:pt>
                <c:pt idx="1399">
                  <c:v>2.3587859999999998</c:v>
                </c:pt>
                <c:pt idx="1400">
                  <c:v>3.0211610000000002</c:v>
                </c:pt>
                <c:pt idx="1401">
                  <c:v>3.8588140000000002</c:v>
                </c:pt>
                <c:pt idx="1402">
                  <c:v>2.5479940000000001</c:v>
                </c:pt>
                <c:pt idx="1403">
                  <c:v>2.2806860000000002</c:v>
                </c:pt>
                <c:pt idx="1404">
                  <c:v>2.0059770000000001</c:v>
                </c:pt>
                <c:pt idx="1405">
                  <c:v>5.8729120000000004</c:v>
                </c:pt>
                <c:pt idx="1406">
                  <c:v>4.5042119999999999</c:v>
                </c:pt>
                <c:pt idx="1407">
                  <c:v>5.4975769999999997</c:v>
                </c:pt>
                <c:pt idx="1408">
                  <c:v>4.8737870000000001</c:v>
                </c:pt>
                <c:pt idx="1409">
                  <c:v>4.0699079999999999</c:v>
                </c:pt>
                <c:pt idx="1410">
                  <c:v>3.9675349999999998</c:v>
                </c:pt>
                <c:pt idx="1411">
                  <c:v>3.0025620000000002</c:v>
                </c:pt>
                <c:pt idx="1412">
                  <c:v>3.4578859999999998</c:v>
                </c:pt>
                <c:pt idx="1413">
                  <c:v>2.3119540000000001</c:v>
                </c:pt>
                <c:pt idx="1414">
                  <c:v>3.7809599999999999</c:v>
                </c:pt>
                <c:pt idx="1415">
                  <c:v>4.4596330000000002</c:v>
                </c:pt>
                <c:pt idx="1416">
                  <c:v>5.9237380000000002</c:v>
                </c:pt>
                <c:pt idx="1417">
                  <c:v>2.871076</c:v>
                </c:pt>
                <c:pt idx="1418">
                  <c:v>2.4394119999999999</c:v>
                </c:pt>
                <c:pt idx="1419">
                  <c:v>2.5394809999999999</c:v>
                </c:pt>
                <c:pt idx="1420">
                  <c:v>3.3058070000000002</c:v>
                </c:pt>
                <c:pt idx="1421">
                  <c:v>3.917926</c:v>
                </c:pt>
                <c:pt idx="1422">
                  <c:v>2.9591639999999999</c:v>
                </c:pt>
                <c:pt idx="1423">
                  <c:v>2.1307130000000001</c:v>
                </c:pt>
                <c:pt idx="1424">
                  <c:v>2.881542</c:v>
                </c:pt>
                <c:pt idx="1425">
                  <c:v>3.458113</c:v>
                </c:pt>
                <c:pt idx="1426">
                  <c:v>4.2675349999999996</c:v>
                </c:pt>
                <c:pt idx="1427">
                  <c:v>4.1306820000000002</c:v>
                </c:pt>
                <c:pt idx="1428">
                  <c:v>3.7015009999999999</c:v>
                </c:pt>
                <c:pt idx="1429">
                  <c:v>3.2833839999999999</c:v>
                </c:pt>
                <c:pt idx="1430">
                  <c:v>3.7876120000000002</c:v>
                </c:pt>
                <c:pt idx="1431">
                  <c:v>4.7968590000000004</c:v>
                </c:pt>
                <c:pt idx="1432">
                  <c:v>3.8935559999999998</c:v>
                </c:pt>
                <c:pt idx="1433">
                  <c:v>2.1263550000000002</c:v>
                </c:pt>
                <c:pt idx="1434">
                  <c:v>3.1519680000000001</c:v>
                </c:pt>
                <c:pt idx="1435">
                  <c:v>3.0345219999999999</c:v>
                </c:pt>
                <c:pt idx="1436">
                  <c:v>3.774537</c:v>
                </c:pt>
                <c:pt idx="1437">
                  <c:v>3.2841559999999999</c:v>
                </c:pt>
                <c:pt idx="1438">
                  <c:v>2.5054319999999999</c:v>
                </c:pt>
                <c:pt idx="1439">
                  <c:v>2.487215</c:v>
                </c:pt>
                <c:pt idx="1440">
                  <c:v>2.449573</c:v>
                </c:pt>
                <c:pt idx="1441">
                  <c:v>2.6176279999999998</c:v>
                </c:pt>
                <c:pt idx="1442">
                  <c:v>2.4635630000000002</c:v>
                </c:pt>
                <c:pt idx="1443">
                  <c:v>1.808872</c:v>
                </c:pt>
                <c:pt idx="1444">
                  <c:v>2.890145</c:v>
                </c:pt>
                <c:pt idx="1445">
                  <c:v>2.2086039999999998</c:v>
                </c:pt>
                <c:pt idx="1446">
                  <c:v>3.9974639999999999</c:v>
                </c:pt>
                <c:pt idx="1447">
                  <c:v>3.2374000000000001</c:v>
                </c:pt>
                <c:pt idx="1448">
                  <c:v>2.3046500000000001</c:v>
                </c:pt>
                <c:pt idx="1449">
                  <c:v>2.6460710000000001</c:v>
                </c:pt>
                <c:pt idx="1450">
                  <c:v>2.5977749999999999</c:v>
                </c:pt>
                <c:pt idx="1451">
                  <c:v>2.7101009999999999</c:v>
                </c:pt>
                <c:pt idx="1452">
                  <c:v>1.7838259999999999</c:v>
                </c:pt>
                <c:pt idx="1453">
                  <c:v>2.4850110000000001</c:v>
                </c:pt>
                <c:pt idx="1454">
                  <c:v>2.3546830000000001</c:v>
                </c:pt>
                <c:pt idx="1455">
                  <c:v>2.8118129999999999</c:v>
                </c:pt>
                <c:pt idx="1456">
                  <c:v>3.1999369999999998</c:v>
                </c:pt>
                <c:pt idx="1457">
                  <c:v>2.102884</c:v>
                </c:pt>
                <c:pt idx="1458">
                  <c:v>2.4486309999999998</c:v>
                </c:pt>
                <c:pt idx="1459">
                  <c:v>3.1579820000000001</c:v>
                </c:pt>
                <c:pt idx="1460">
                  <c:v>3.8662429999999999</c:v>
                </c:pt>
                <c:pt idx="1461">
                  <c:v>2.9868039999999998</c:v>
                </c:pt>
                <c:pt idx="1462">
                  <c:v>2.725082</c:v>
                </c:pt>
                <c:pt idx="1463">
                  <c:v>2.5075349999999998</c:v>
                </c:pt>
                <c:pt idx="1464">
                  <c:v>2.225838</c:v>
                </c:pt>
                <c:pt idx="1465">
                  <c:v>2.5682230000000001</c:v>
                </c:pt>
                <c:pt idx="1466">
                  <c:v>1.9255739999999999</c:v>
                </c:pt>
                <c:pt idx="1467">
                  <c:v>2.8865699999999999</c:v>
                </c:pt>
                <c:pt idx="1468">
                  <c:v>2.1037300000000001</c:v>
                </c:pt>
                <c:pt idx="1469">
                  <c:v>2.6684640000000002</c:v>
                </c:pt>
                <c:pt idx="1470">
                  <c:v>2.9024809999999999</c:v>
                </c:pt>
                <c:pt idx="1471">
                  <c:v>3.3737409999999999</c:v>
                </c:pt>
                <c:pt idx="1472">
                  <c:v>2.6167009999999999</c:v>
                </c:pt>
                <c:pt idx="1473">
                  <c:v>3.1952539999999998</c:v>
                </c:pt>
                <c:pt idx="1474">
                  <c:v>3.9100760000000001</c:v>
                </c:pt>
                <c:pt idx="1475">
                  <c:v>3.162064</c:v>
                </c:pt>
                <c:pt idx="1476">
                  <c:v>2.600025</c:v>
                </c:pt>
                <c:pt idx="1477">
                  <c:v>2.3906749999999999</c:v>
                </c:pt>
                <c:pt idx="1478">
                  <c:v>3.0223870000000002</c:v>
                </c:pt>
                <c:pt idx="1479">
                  <c:v>2.7942870000000002</c:v>
                </c:pt>
                <c:pt idx="1480">
                  <c:v>2.0617320000000001</c:v>
                </c:pt>
                <c:pt idx="1481">
                  <c:v>4.0964549999999997</c:v>
                </c:pt>
                <c:pt idx="1482">
                  <c:v>4.1937220000000002</c:v>
                </c:pt>
                <c:pt idx="1483">
                  <c:v>3.2999010000000002</c:v>
                </c:pt>
                <c:pt idx="1484">
                  <c:v>3.474612</c:v>
                </c:pt>
                <c:pt idx="1485">
                  <c:v>3.8994110000000002</c:v>
                </c:pt>
                <c:pt idx="1486">
                  <c:v>3.0741800000000001</c:v>
                </c:pt>
                <c:pt idx="1487">
                  <c:v>2.6066410000000002</c:v>
                </c:pt>
                <c:pt idx="1488">
                  <c:v>2.9365060000000001</c:v>
                </c:pt>
                <c:pt idx="1489">
                  <c:v>2.0242559999999998</c:v>
                </c:pt>
                <c:pt idx="1490">
                  <c:v>3.2599429999999998</c:v>
                </c:pt>
                <c:pt idx="1491">
                  <c:v>3.385551</c:v>
                </c:pt>
                <c:pt idx="1492">
                  <c:v>2.283703</c:v>
                </c:pt>
                <c:pt idx="1493">
                  <c:v>1.895427</c:v>
                </c:pt>
                <c:pt idx="1494">
                  <c:v>2.0439639999999999</c:v>
                </c:pt>
                <c:pt idx="1495">
                  <c:v>2.286365</c:v>
                </c:pt>
                <c:pt idx="1496">
                  <c:v>2.5547620000000002</c:v>
                </c:pt>
                <c:pt idx="1497">
                  <c:v>1.700563</c:v>
                </c:pt>
                <c:pt idx="1498">
                  <c:v>2.441621</c:v>
                </c:pt>
                <c:pt idx="1499">
                  <c:v>3.7674509999999999</c:v>
                </c:pt>
                <c:pt idx="1500">
                  <c:v>3.7090429999999999</c:v>
                </c:pt>
                <c:pt idx="1501">
                  <c:v>3.489449</c:v>
                </c:pt>
                <c:pt idx="1502">
                  <c:v>2.2061419999999998</c:v>
                </c:pt>
                <c:pt idx="1503">
                  <c:v>1.0826629999999999</c:v>
                </c:pt>
                <c:pt idx="1504">
                  <c:v>1.924542</c:v>
                </c:pt>
                <c:pt idx="1505">
                  <c:v>3.0045090000000001</c:v>
                </c:pt>
                <c:pt idx="1506">
                  <c:v>1.7781400000000001</c:v>
                </c:pt>
                <c:pt idx="1507">
                  <c:v>0.520119</c:v>
                </c:pt>
                <c:pt idx="1508">
                  <c:v>1.0197700000000001</c:v>
                </c:pt>
                <c:pt idx="1509">
                  <c:v>1.2940799999999999</c:v>
                </c:pt>
                <c:pt idx="1510">
                  <c:v>0.992676</c:v>
                </c:pt>
                <c:pt idx="1511">
                  <c:v>3.3302079999999998</c:v>
                </c:pt>
                <c:pt idx="1512">
                  <c:v>3.084883</c:v>
                </c:pt>
                <c:pt idx="1513">
                  <c:v>2.4803470000000001</c:v>
                </c:pt>
                <c:pt idx="1514">
                  <c:v>2.347906</c:v>
                </c:pt>
                <c:pt idx="1515">
                  <c:v>2.1490320000000001</c:v>
                </c:pt>
                <c:pt idx="1516">
                  <c:v>3.124997</c:v>
                </c:pt>
                <c:pt idx="1517">
                  <c:v>2.9634550000000002</c:v>
                </c:pt>
                <c:pt idx="1518">
                  <c:v>2.183494</c:v>
                </c:pt>
                <c:pt idx="1519">
                  <c:v>1.850427</c:v>
                </c:pt>
                <c:pt idx="1520">
                  <c:v>2.3925160000000001</c:v>
                </c:pt>
                <c:pt idx="1521">
                  <c:v>2.6814260000000001</c:v>
                </c:pt>
                <c:pt idx="1522">
                  <c:v>3.4419970000000002</c:v>
                </c:pt>
                <c:pt idx="1523">
                  <c:v>2.754591</c:v>
                </c:pt>
                <c:pt idx="1524">
                  <c:v>2.7643059999999999</c:v>
                </c:pt>
                <c:pt idx="1525">
                  <c:v>2.2139419999999999</c:v>
                </c:pt>
                <c:pt idx="1526">
                  <c:v>2.4504999999999999</c:v>
                </c:pt>
                <c:pt idx="1527">
                  <c:v>4.1326229999999997</c:v>
                </c:pt>
                <c:pt idx="1528">
                  <c:v>2.170258</c:v>
                </c:pt>
                <c:pt idx="1529">
                  <c:v>1.4649190000000001</c:v>
                </c:pt>
                <c:pt idx="1530">
                  <c:v>1.8688070000000001</c:v>
                </c:pt>
                <c:pt idx="1531">
                  <c:v>1.9511179999999999</c:v>
                </c:pt>
                <c:pt idx="1532">
                  <c:v>2.3691399999999998</c:v>
                </c:pt>
                <c:pt idx="1533">
                  <c:v>1.573396</c:v>
                </c:pt>
                <c:pt idx="1534">
                  <c:v>1.8395030000000001</c:v>
                </c:pt>
                <c:pt idx="1535">
                  <c:v>2.2429679999999999</c:v>
                </c:pt>
                <c:pt idx="1536">
                  <c:v>2.6722109999999999</c:v>
                </c:pt>
                <c:pt idx="1537">
                  <c:v>4.1859130000000002</c:v>
                </c:pt>
                <c:pt idx="1538">
                  <c:v>2.4178320000000002</c:v>
                </c:pt>
                <c:pt idx="1539">
                  <c:v>1.6233169999999999</c:v>
                </c:pt>
                <c:pt idx="1540">
                  <c:v>2.0366939999999998</c:v>
                </c:pt>
                <c:pt idx="1541">
                  <c:v>2.393132</c:v>
                </c:pt>
                <c:pt idx="1542">
                  <c:v>2.3438889999999999</c:v>
                </c:pt>
                <c:pt idx="1543">
                  <c:v>1.818435</c:v>
                </c:pt>
                <c:pt idx="1544">
                  <c:v>1.987393</c:v>
                </c:pt>
                <c:pt idx="1545">
                  <c:v>1.894225</c:v>
                </c:pt>
                <c:pt idx="1546">
                  <c:v>1.7640150000000001</c:v>
                </c:pt>
                <c:pt idx="1547">
                  <c:v>1.620687</c:v>
                </c:pt>
                <c:pt idx="1548">
                  <c:v>1.919254</c:v>
                </c:pt>
                <c:pt idx="1549">
                  <c:v>1.2971360000000001</c:v>
                </c:pt>
                <c:pt idx="1550">
                  <c:v>1.5924579999999999</c:v>
                </c:pt>
                <c:pt idx="1551">
                  <c:v>1.9874590000000001</c:v>
                </c:pt>
                <c:pt idx="1552">
                  <c:v>2.2882639999999999</c:v>
                </c:pt>
                <c:pt idx="1553">
                  <c:v>1.8878839999999999</c:v>
                </c:pt>
                <c:pt idx="1554">
                  <c:v>1.8844479999999999</c:v>
                </c:pt>
                <c:pt idx="1555">
                  <c:v>1.846408</c:v>
                </c:pt>
                <c:pt idx="1556">
                  <c:v>2.0503629999999999</c:v>
                </c:pt>
                <c:pt idx="1557">
                  <c:v>2.3117359999999998</c:v>
                </c:pt>
                <c:pt idx="1558">
                  <c:v>2.819315</c:v>
                </c:pt>
                <c:pt idx="1559">
                  <c:v>2.8286449999999999</c:v>
                </c:pt>
                <c:pt idx="1560">
                  <c:v>2.4080029999999999</c:v>
                </c:pt>
                <c:pt idx="1561">
                  <c:v>3.1818070000000001</c:v>
                </c:pt>
                <c:pt idx="1562">
                  <c:v>4.253819</c:v>
                </c:pt>
                <c:pt idx="1563">
                  <c:v>2.7650809999999999</c:v>
                </c:pt>
                <c:pt idx="1564">
                  <c:v>2.517738</c:v>
                </c:pt>
                <c:pt idx="1565">
                  <c:v>3.4523130000000002</c:v>
                </c:pt>
                <c:pt idx="1566">
                  <c:v>3.5961509999999999</c:v>
                </c:pt>
                <c:pt idx="1567">
                  <c:v>5.0575349999999997</c:v>
                </c:pt>
                <c:pt idx="1568">
                  <c:v>3.1271529999999998</c:v>
                </c:pt>
                <c:pt idx="1569">
                  <c:v>2.3835600000000001</c:v>
                </c:pt>
                <c:pt idx="1570">
                  <c:v>2.4829650000000001</c:v>
                </c:pt>
                <c:pt idx="1571">
                  <c:v>2.379899</c:v>
                </c:pt>
                <c:pt idx="1572">
                  <c:v>1.9233979999999999</c:v>
                </c:pt>
                <c:pt idx="1573">
                  <c:v>2.512632</c:v>
                </c:pt>
                <c:pt idx="1574">
                  <c:v>2.6046819999999999</c:v>
                </c:pt>
                <c:pt idx="1575">
                  <c:v>2.3203290000000001</c:v>
                </c:pt>
                <c:pt idx="1576">
                  <c:v>2.2253889999999998</c:v>
                </c:pt>
                <c:pt idx="1577">
                  <c:v>2.1191990000000001</c:v>
                </c:pt>
                <c:pt idx="1578">
                  <c:v>1.530948</c:v>
                </c:pt>
                <c:pt idx="1579">
                  <c:v>2.2398899999999999</c:v>
                </c:pt>
                <c:pt idx="1580">
                  <c:v>1.953063</c:v>
                </c:pt>
                <c:pt idx="1581">
                  <c:v>2.1242429999999999</c:v>
                </c:pt>
                <c:pt idx="1582">
                  <c:v>0.91813500000000003</c:v>
                </c:pt>
                <c:pt idx="1583">
                  <c:v>1.325183</c:v>
                </c:pt>
                <c:pt idx="1584">
                  <c:v>1.831585</c:v>
                </c:pt>
                <c:pt idx="1585">
                  <c:v>2.925198</c:v>
                </c:pt>
                <c:pt idx="1586">
                  <c:v>3.3124950000000002</c:v>
                </c:pt>
                <c:pt idx="1587">
                  <c:v>2.1053190000000002</c:v>
                </c:pt>
                <c:pt idx="1588">
                  <c:v>1.525212</c:v>
                </c:pt>
                <c:pt idx="1589">
                  <c:v>2.617229</c:v>
                </c:pt>
                <c:pt idx="1590">
                  <c:v>1.195014</c:v>
                </c:pt>
                <c:pt idx="1591">
                  <c:v>0.87689399999999995</c:v>
                </c:pt>
                <c:pt idx="1592">
                  <c:v>1.863191</c:v>
                </c:pt>
                <c:pt idx="1593">
                  <c:v>2.048781</c:v>
                </c:pt>
                <c:pt idx="1594">
                  <c:v>2.2736869999999998</c:v>
                </c:pt>
                <c:pt idx="1595">
                  <c:v>0.95660000000000001</c:v>
                </c:pt>
                <c:pt idx="1596">
                  <c:v>2.4377490000000002</c:v>
                </c:pt>
                <c:pt idx="1597">
                  <c:v>2.3287680000000002</c:v>
                </c:pt>
                <c:pt idx="1598">
                  <c:v>2.5772050000000002</c:v>
                </c:pt>
                <c:pt idx="1599">
                  <c:v>1.8170489999999999</c:v>
                </c:pt>
                <c:pt idx="1600">
                  <c:v>1.6163449999999999</c:v>
                </c:pt>
                <c:pt idx="1601">
                  <c:v>1.6133059999999999</c:v>
                </c:pt>
                <c:pt idx="1602">
                  <c:v>1.776049</c:v>
                </c:pt>
                <c:pt idx="1603">
                  <c:v>2.2473359999999998</c:v>
                </c:pt>
                <c:pt idx="1604">
                  <c:v>3.3587639999999999</c:v>
                </c:pt>
                <c:pt idx="1605">
                  <c:v>1.8060879999999999</c:v>
                </c:pt>
                <c:pt idx="1606">
                  <c:v>1.4297759999999999</c:v>
                </c:pt>
                <c:pt idx="1607">
                  <c:v>2.467517</c:v>
                </c:pt>
                <c:pt idx="1608">
                  <c:v>2.6768779999999999</c:v>
                </c:pt>
                <c:pt idx="1609">
                  <c:v>2.354711</c:v>
                </c:pt>
                <c:pt idx="1610">
                  <c:v>2.7942979999999999</c:v>
                </c:pt>
                <c:pt idx="1611">
                  <c:v>2.3177629999999998</c:v>
                </c:pt>
                <c:pt idx="1612">
                  <c:v>2.4457209999999998</c:v>
                </c:pt>
                <c:pt idx="1613">
                  <c:v>2.9258160000000002</c:v>
                </c:pt>
                <c:pt idx="1614">
                  <c:v>1.926482</c:v>
                </c:pt>
                <c:pt idx="1615">
                  <c:v>2.2600600000000002</c:v>
                </c:pt>
                <c:pt idx="1616">
                  <c:v>1.753185</c:v>
                </c:pt>
                <c:pt idx="1617">
                  <c:v>2.0233620000000001</c:v>
                </c:pt>
                <c:pt idx="1618">
                  <c:v>1.8103640000000001</c:v>
                </c:pt>
                <c:pt idx="1619">
                  <c:v>2.2941039999999999</c:v>
                </c:pt>
                <c:pt idx="1620">
                  <c:v>1.985784</c:v>
                </c:pt>
                <c:pt idx="1621">
                  <c:v>2.7004739999999998</c:v>
                </c:pt>
                <c:pt idx="1622">
                  <c:v>2.1241270000000001</c:v>
                </c:pt>
                <c:pt idx="1623">
                  <c:v>3.4782039999999999</c:v>
                </c:pt>
                <c:pt idx="1624">
                  <c:v>3.4058199999999998</c:v>
                </c:pt>
                <c:pt idx="1625">
                  <c:v>2.2811379999999999</c:v>
                </c:pt>
                <c:pt idx="1626">
                  <c:v>2.6026950000000002</c:v>
                </c:pt>
                <c:pt idx="1627">
                  <c:v>2.766397</c:v>
                </c:pt>
                <c:pt idx="1628">
                  <c:v>2.1440830000000002</c:v>
                </c:pt>
                <c:pt idx="1629">
                  <c:v>2.2164670000000002</c:v>
                </c:pt>
                <c:pt idx="1630">
                  <c:v>2.4075890000000002</c:v>
                </c:pt>
                <c:pt idx="1631">
                  <c:v>2.4419249999999999</c:v>
                </c:pt>
                <c:pt idx="1632">
                  <c:v>2.8079670000000001</c:v>
                </c:pt>
                <c:pt idx="1633">
                  <c:v>1.4220060000000001</c:v>
                </c:pt>
                <c:pt idx="1634">
                  <c:v>2.5334240000000001</c:v>
                </c:pt>
                <c:pt idx="1635">
                  <c:v>1.4110259999999999</c:v>
                </c:pt>
                <c:pt idx="1636">
                  <c:v>2.2895569999999998</c:v>
                </c:pt>
                <c:pt idx="1637">
                  <c:v>2.3777949999999999</c:v>
                </c:pt>
                <c:pt idx="1638">
                  <c:v>2.033426</c:v>
                </c:pt>
                <c:pt idx="1639">
                  <c:v>1.9026639999999999</c:v>
                </c:pt>
                <c:pt idx="1640">
                  <c:v>1.6439109999999999</c:v>
                </c:pt>
                <c:pt idx="1641">
                  <c:v>2.309043</c:v>
                </c:pt>
                <c:pt idx="1642">
                  <c:v>1.8134790000000001</c:v>
                </c:pt>
                <c:pt idx="1643">
                  <c:v>1.917014</c:v>
                </c:pt>
                <c:pt idx="1644">
                  <c:v>1.5748230000000001</c:v>
                </c:pt>
                <c:pt idx="1645">
                  <c:v>1.5138609999999999</c:v>
                </c:pt>
                <c:pt idx="1646">
                  <c:v>2.1493190000000002</c:v>
                </c:pt>
                <c:pt idx="1647">
                  <c:v>2.2480829999999998</c:v>
                </c:pt>
                <c:pt idx="1648">
                  <c:v>2.607453</c:v>
                </c:pt>
                <c:pt idx="1649">
                  <c:v>1.9349069999999999</c:v>
                </c:pt>
                <c:pt idx="1650">
                  <c:v>1.4829460000000001</c:v>
                </c:pt>
                <c:pt idx="1651">
                  <c:v>2.2390620000000001</c:v>
                </c:pt>
                <c:pt idx="1652">
                  <c:v>2.2655750000000001</c:v>
                </c:pt>
                <c:pt idx="1653">
                  <c:v>3.5842390000000002</c:v>
                </c:pt>
                <c:pt idx="1654">
                  <c:v>4.8803229999999997</c:v>
                </c:pt>
                <c:pt idx="1655">
                  <c:v>3.6810100000000001</c:v>
                </c:pt>
                <c:pt idx="1656">
                  <c:v>2.4671780000000001</c:v>
                </c:pt>
                <c:pt idx="1657">
                  <c:v>3.4092099999999999</c:v>
                </c:pt>
                <c:pt idx="1658">
                  <c:v>2.0507879999999998</c:v>
                </c:pt>
                <c:pt idx="1659">
                  <c:v>2.4555859999999998</c:v>
                </c:pt>
                <c:pt idx="1660">
                  <c:v>2.3078979999999998</c:v>
                </c:pt>
                <c:pt idx="1661">
                  <c:v>4.2213989999999999</c:v>
                </c:pt>
                <c:pt idx="1662">
                  <c:v>4.3990729999999996</c:v>
                </c:pt>
                <c:pt idx="1663">
                  <c:v>3.929643</c:v>
                </c:pt>
                <c:pt idx="1664">
                  <c:v>2.4025479999999999</c:v>
                </c:pt>
                <c:pt idx="1665">
                  <c:v>2.9530449999999999</c:v>
                </c:pt>
                <c:pt idx="1666">
                  <c:v>2.7240730000000002</c:v>
                </c:pt>
                <c:pt idx="1667">
                  <c:v>2.2805089999999999</c:v>
                </c:pt>
                <c:pt idx="1668">
                  <c:v>2.5920730000000001</c:v>
                </c:pt>
                <c:pt idx="1669">
                  <c:v>3.2855530000000002</c:v>
                </c:pt>
                <c:pt idx="1670">
                  <c:v>1.9428669999999999</c:v>
                </c:pt>
                <c:pt idx="1671">
                  <c:v>2.5549089999999999</c:v>
                </c:pt>
                <c:pt idx="1672">
                  <c:v>2.7515360000000002</c:v>
                </c:pt>
                <c:pt idx="1673">
                  <c:v>2.2727119999999998</c:v>
                </c:pt>
                <c:pt idx="1674">
                  <c:v>2.2993990000000002</c:v>
                </c:pt>
                <c:pt idx="1675">
                  <c:v>1.378789</c:v>
                </c:pt>
                <c:pt idx="1676">
                  <c:v>2.5063979999999999</c:v>
                </c:pt>
                <c:pt idx="1677">
                  <c:v>2.2265000000000001</c:v>
                </c:pt>
                <c:pt idx="1678">
                  <c:v>1.990429</c:v>
                </c:pt>
                <c:pt idx="1679">
                  <c:v>2.3761109999999999</c:v>
                </c:pt>
                <c:pt idx="1680">
                  <c:v>1.7940849999999999</c:v>
                </c:pt>
                <c:pt idx="1681">
                  <c:v>1.9776009999999999</c:v>
                </c:pt>
                <c:pt idx="1682">
                  <c:v>2.0040110000000002</c:v>
                </c:pt>
                <c:pt idx="1683">
                  <c:v>3.1543929999999998</c:v>
                </c:pt>
                <c:pt idx="1684">
                  <c:v>2.466091</c:v>
                </c:pt>
                <c:pt idx="1685">
                  <c:v>2.6650909999999999</c:v>
                </c:pt>
                <c:pt idx="1686">
                  <c:v>2.8618860000000002</c:v>
                </c:pt>
                <c:pt idx="1687">
                  <c:v>2.0696029999999999</c:v>
                </c:pt>
                <c:pt idx="1688">
                  <c:v>1.9768950000000001</c:v>
                </c:pt>
                <c:pt idx="1689">
                  <c:v>1.9897100000000001</c:v>
                </c:pt>
                <c:pt idx="1690">
                  <c:v>1.5725210000000001</c:v>
                </c:pt>
                <c:pt idx="1691">
                  <c:v>1.778322</c:v>
                </c:pt>
                <c:pt idx="1692">
                  <c:v>3.2125979999999998</c:v>
                </c:pt>
                <c:pt idx="1693">
                  <c:v>2.303016</c:v>
                </c:pt>
                <c:pt idx="1694">
                  <c:v>2.6424029999999998</c:v>
                </c:pt>
                <c:pt idx="1695">
                  <c:v>2.5226790000000001</c:v>
                </c:pt>
                <c:pt idx="1696">
                  <c:v>2.2748550000000001</c:v>
                </c:pt>
                <c:pt idx="1697">
                  <c:v>2.4208120000000002</c:v>
                </c:pt>
                <c:pt idx="1698">
                  <c:v>2.3065790000000002</c:v>
                </c:pt>
                <c:pt idx="1699">
                  <c:v>2.232634</c:v>
                </c:pt>
                <c:pt idx="1700">
                  <c:v>1.9681340000000001</c:v>
                </c:pt>
                <c:pt idx="1701">
                  <c:v>2.2586279999999999</c:v>
                </c:pt>
                <c:pt idx="1702">
                  <c:v>2.0530870000000001</c:v>
                </c:pt>
                <c:pt idx="1703">
                  <c:v>1.7649360000000001</c:v>
                </c:pt>
                <c:pt idx="1704">
                  <c:v>2.308678</c:v>
                </c:pt>
                <c:pt idx="1705">
                  <c:v>1.613777</c:v>
                </c:pt>
                <c:pt idx="1706">
                  <c:v>2.0600040000000002</c:v>
                </c:pt>
                <c:pt idx="1707">
                  <c:v>1.3910769999999999</c:v>
                </c:pt>
                <c:pt idx="1708">
                  <c:v>2.0725340000000001</c:v>
                </c:pt>
                <c:pt idx="1709">
                  <c:v>1.763646</c:v>
                </c:pt>
                <c:pt idx="1710">
                  <c:v>1.706731</c:v>
                </c:pt>
                <c:pt idx="1711">
                  <c:v>1.9325019999999999</c:v>
                </c:pt>
                <c:pt idx="1712">
                  <c:v>2.1986940000000001</c:v>
                </c:pt>
                <c:pt idx="1713">
                  <c:v>2.4551029999999998</c:v>
                </c:pt>
                <c:pt idx="1714">
                  <c:v>2.2822749999999998</c:v>
                </c:pt>
                <c:pt idx="1715">
                  <c:v>1.6960120000000001</c:v>
                </c:pt>
                <c:pt idx="1716">
                  <c:v>1.838417</c:v>
                </c:pt>
                <c:pt idx="1717">
                  <c:v>2.2806229999999998</c:v>
                </c:pt>
                <c:pt idx="1718">
                  <c:v>2.1879309999999998</c:v>
                </c:pt>
                <c:pt idx="1719">
                  <c:v>2.2532730000000001</c:v>
                </c:pt>
                <c:pt idx="1720">
                  <c:v>2.0728369999999998</c:v>
                </c:pt>
                <c:pt idx="1721">
                  <c:v>2.0983429999999998</c:v>
                </c:pt>
                <c:pt idx="1722">
                  <c:v>2.1787399999999999</c:v>
                </c:pt>
                <c:pt idx="1723">
                  <c:v>2.072708</c:v>
                </c:pt>
                <c:pt idx="1724">
                  <c:v>1.2937700000000001</c:v>
                </c:pt>
                <c:pt idx="1725">
                  <c:v>2.2155619999999998</c:v>
                </c:pt>
                <c:pt idx="1726">
                  <c:v>2.3904899999999998</c:v>
                </c:pt>
                <c:pt idx="1727">
                  <c:v>2.0552299999999999</c:v>
                </c:pt>
                <c:pt idx="1728">
                  <c:v>1.593615</c:v>
                </c:pt>
                <c:pt idx="1729">
                  <c:v>1.3588739999999999</c:v>
                </c:pt>
                <c:pt idx="1730">
                  <c:v>1.587437</c:v>
                </c:pt>
                <c:pt idx="1731">
                  <c:v>2.103205</c:v>
                </c:pt>
                <c:pt idx="1732">
                  <c:v>1.616709</c:v>
                </c:pt>
                <c:pt idx="1733">
                  <c:v>2.2054109999999998</c:v>
                </c:pt>
                <c:pt idx="1734">
                  <c:v>1.8828229999999999</c:v>
                </c:pt>
                <c:pt idx="1735">
                  <c:v>1.920715</c:v>
                </c:pt>
                <c:pt idx="1736">
                  <c:v>1.3741920000000001</c:v>
                </c:pt>
                <c:pt idx="1737">
                  <c:v>1.541836</c:v>
                </c:pt>
                <c:pt idx="1738">
                  <c:v>1.8295969999999999</c:v>
                </c:pt>
                <c:pt idx="1739">
                  <c:v>1.7233750000000001</c:v>
                </c:pt>
                <c:pt idx="1740">
                  <c:v>1.650066</c:v>
                </c:pt>
                <c:pt idx="1741">
                  <c:v>2.037264</c:v>
                </c:pt>
                <c:pt idx="1742">
                  <c:v>1.4139699999999999</c:v>
                </c:pt>
                <c:pt idx="1743">
                  <c:v>1.321976</c:v>
                </c:pt>
                <c:pt idx="1744">
                  <c:v>1.29593</c:v>
                </c:pt>
                <c:pt idx="1745">
                  <c:v>1.49091</c:v>
                </c:pt>
                <c:pt idx="1746">
                  <c:v>1.4130799999999999</c:v>
                </c:pt>
                <c:pt idx="1747">
                  <c:v>2.238489</c:v>
                </c:pt>
                <c:pt idx="1748">
                  <c:v>3.1793770000000001</c:v>
                </c:pt>
                <c:pt idx="1749">
                  <c:v>1.6898839999999999</c:v>
                </c:pt>
                <c:pt idx="1750">
                  <c:v>1.8289409999999999</c:v>
                </c:pt>
                <c:pt idx="1751">
                  <c:v>1.97309</c:v>
                </c:pt>
                <c:pt idx="1752">
                  <c:v>1.9030419999999999</c:v>
                </c:pt>
                <c:pt idx="1753">
                  <c:v>1.8877360000000001</c:v>
                </c:pt>
                <c:pt idx="1754">
                  <c:v>1.7389889999999999</c:v>
                </c:pt>
                <c:pt idx="1755">
                  <c:v>1.5095160000000001</c:v>
                </c:pt>
                <c:pt idx="1756">
                  <c:v>1.4760200000000001</c:v>
                </c:pt>
                <c:pt idx="1757">
                  <c:v>1.3276840000000001</c:v>
                </c:pt>
                <c:pt idx="1758">
                  <c:v>2.3499129999999999</c:v>
                </c:pt>
                <c:pt idx="1759">
                  <c:v>1.905246</c:v>
                </c:pt>
                <c:pt idx="1760">
                  <c:v>0.71403799999999995</c:v>
                </c:pt>
                <c:pt idx="1761">
                  <c:v>0.61390100000000003</c:v>
                </c:pt>
                <c:pt idx="1762">
                  <c:v>0.84834600000000004</c:v>
                </c:pt>
                <c:pt idx="1763">
                  <c:v>2.1318480000000002</c:v>
                </c:pt>
                <c:pt idx="1764">
                  <c:v>1.9682999999999999</c:v>
                </c:pt>
                <c:pt idx="1765">
                  <c:v>2.529455</c:v>
                </c:pt>
                <c:pt idx="1766">
                  <c:v>2.073366</c:v>
                </c:pt>
                <c:pt idx="1767">
                  <c:v>3.0101249999999999</c:v>
                </c:pt>
                <c:pt idx="1768">
                  <c:v>2.561941</c:v>
                </c:pt>
                <c:pt idx="1769">
                  <c:v>2.1470850000000001</c:v>
                </c:pt>
                <c:pt idx="1770">
                  <c:v>1.8162689999999999</c:v>
                </c:pt>
                <c:pt idx="1771">
                  <c:v>2.2712620000000001</c:v>
                </c:pt>
                <c:pt idx="1772">
                  <c:v>2.106398</c:v>
                </c:pt>
                <c:pt idx="1773">
                  <c:v>2.2028590000000001</c:v>
                </c:pt>
                <c:pt idx="1774">
                  <c:v>2.6835900000000001</c:v>
                </c:pt>
                <c:pt idx="1775">
                  <c:v>3.8524970000000001</c:v>
                </c:pt>
                <c:pt idx="1776">
                  <c:v>3.288672</c:v>
                </c:pt>
                <c:pt idx="1777">
                  <c:v>2.6903929999999998</c:v>
                </c:pt>
                <c:pt idx="1778">
                  <c:v>3.6691150000000001</c:v>
                </c:pt>
                <c:pt idx="1779">
                  <c:v>3.5987979999999999</c:v>
                </c:pt>
                <c:pt idx="1780">
                  <c:v>3.8291300000000001</c:v>
                </c:pt>
                <c:pt idx="1781">
                  <c:v>3.4210419999999999</c:v>
                </c:pt>
                <c:pt idx="1782">
                  <c:v>3.6236160000000002</c:v>
                </c:pt>
                <c:pt idx="1783">
                  <c:v>3.1336949999999999</c:v>
                </c:pt>
                <c:pt idx="1784">
                  <c:v>3.6609729999999998</c:v>
                </c:pt>
                <c:pt idx="1785">
                  <c:v>3.0217209999999999</c:v>
                </c:pt>
                <c:pt idx="1786">
                  <c:v>3.5058910000000001</c:v>
                </c:pt>
                <c:pt idx="1787">
                  <c:v>3.0894050000000002</c:v>
                </c:pt>
                <c:pt idx="1788">
                  <c:v>3.446949</c:v>
                </c:pt>
                <c:pt idx="1789">
                  <c:v>2.1219100000000002</c:v>
                </c:pt>
                <c:pt idx="1790">
                  <c:v>1.5028030000000001</c:v>
                </c:pt>
                <c:pt idx="1791">
                  <c:v>3.9484750000000002</c:v>
                </c:pt>
                <c:pt idx="1792">
                  <c:v>2.2469209999999999</c:v>
                </c:pt>
                <c:pt idx="1793">
                  <c:v>3.7872479999999999</c:v>
                </c:pt>
                <c:pt idx="1794">
                  <c:v>3.5457390000000002</c:v>
                </c:pt>
                <c:pt idx="1795">
                  <c:v>4.1622450000000004</c:v>
                </c:pt>
                <c:pt idx="1796">
                  <c:v>4.3738210000000004</c:v>
                </c:pt>
                <c:pt idx="1797">
                  <c:v>5.2655079999999996</c:v>
                </c:pt>
                <c:pt idx="1798">
                  <c:v>7.075666</c:v>
                </c:pt>
                <c:pt idx="1799">
                  <c:v>5.8575559999999998</c:v>
                </c:pt>
                <c:pt idx="1800">
                  <c:v>5.080819</c:v>
                </c:pt>
                <c:pt idx="1801">
                  <c:v>4.1673400000000003</c:v>
                </c:pt>
                <c:pt idx="1802">
                  <c:v>4.2978110000000003</c:v>
                </c:pt>
                <c:pt idx="1803">
                  <c:v>5.5564359999999997</c:v>
                </c:pt>
                <c:pt idx="1804">
                  <c:v>6.6642159999999997</c:v>
                </c:pt>
                <c:pt idx="1805">
                  <c:v>4.9422759999999997</c:v>
                </c:pt>
                <c:pt idx="1806">
                  <c:v>6.1711640000000001</c:v>
                </c:pt>
                <c:pt idx="1807">
                  <c:v>5.1598769999999998</c:v>
                </c:pt>
                <c:pt idx="1808">
                  <c:v>4.8161589999999999</c:v>
                </c:pt>
                <c:pt idx="1809">
                  <c:v>4.8145709999999999</c:v>
                </c:pt>
                <c:pt idx="1810">
                  <c:v>5.3109289999999998</c:v>
                </c:pt>
                <c:pt idx="1811">
                  <c:v>5.1259620000000004</c:v>
                </c:pt>
                <c:pt idx="1812">
                  <c:v>4.9816000000000003</c:v>
                </c:pt>
                <c:pt idx="1813">
                  <c:v>3.8133949999999999</c:v>
                </c:pt>
                <c:pt idx="1814">
                  <c:v>3.6531820000000002</c:v>
                </c:pt>
                <c:pt idx="1815">
                  <c:v>4.7506060000000003</c:v>
                </c:pt>
                <c:pt idx="1816">
                  <c:v>3.946634</c:v>
                </c:pt>
                <c:pt idx="1817">
                  <c:v>3.8349479999999998</c:v>
                </c:pt>
                <c:pt idx="1818">
                  <c:v>3.367356</c:v>
                </c:pt>
                <c:pt idx="1819">
                  <c:v>3.6482459999999999</c:v>
                </c:pt>
                <c:pt idx="1820">
                  <c:v>2.8359380000000001</c:v>
                </c:pt>
                <c:pt idx="1821">
                  <c:v>4.5727789999999997</c:v>
                </c:pt>
                <c:pt idx="1822">
                  <c:v>4.0717369999999997</c:v>
                </c:pt>
                <c:pt idx="1823">
                  <c:v>2.554141</c:v>
                </c:pt>
                <c:pt idx="1824">
                  <c:v>3.0623010000000002</c:v>
                </c:pt>
                <c:pt idx="1825">
                  <c:v>2.1488209999999999</c:v>
                </c:pt>
                <c:pt idx="1826">
                  <c:v>5.0998159999999997</c:v>
                </c:pt>
                <c:pt idx="1827">
                  <c:v>2.0725370000000001</c:v>
                </c:pt>
                <c:pt idx="1828">
                  <c:v>2.2208999999999999</c:v>
                </c:pt>
                <c:pt idx="1829">
                  <c:v>2.660307</c:v>
                </c:pt>
                <c:pt idx="1830">
                  <c:v>3.9502679999999999</c:v>
                </c:pt>
                <c:pt idx="1831">
                  <c:v>3.615361</c:v>
                </c:pt>
                <c:pt idx="1832">
                  <c:v>3.1407400000000001</c:v>
                </c:pt>
                <c:pt idx="1833">
                  <c:v>3.2062020000000002</c:v>
                </c:pt>
                <c:pt idx="1834">
                  <c:v>5.8737009999999996</c:v>
                </c:pt>
                <c:pt idx="1835">
                  <c:v>3.9304139999999999</c:v>
                </c:pt>
                <c:pt idx="1836">
                  <c:v>3.554208</c:v>
                </c:pt>
                <c:pt idx="1837">
                  <c:v>2.9012199999999999</c:v>
                </c:pt>
                <c:pt idx="1838">
                  <c:v>2.7182689999999998</c:v>
                </c:pt>
                <c:pt idx="1839">
                  <c:v>3.148002</c:v>
                </c:pt>
                <c:pt idx="1840">
                  <c:v>2.591961</c:v>
                </c:pt>
                <c:pt idx="1841">
                  <c:v>4.4119760000000001</c:v>
                </c:pt>
                <c:pt idx="1842">
                  <c:v>1.4784189999999999</c:v>
                </c:pt>
                <c:pt idx="1843">
                  <c:v>1.5680240000000001</c:v>
                </c:pt>
                <c:pt idx="1844">
                  <c:v>3.5704030000000002</c:v>
                </c:pt>
                <c:pt idx="1845">
                  <c:v>2.78078</c:v>
                </c:pt>
                <c:pt idx="1846">
                  <c:v>2.1970900000000002</c:v>
                </c:pt>
                <c:pt idx="1847">
                  <c:v>2.373291</c:v>
                </c:pt>
                <c:pt idx="1848">
                  <c:v>2.7534649999999998</c:v>
                </c:pt>
                <c:pt idx="1849">
                  <c:v>3.151189</c:v>
                </c:pt>
                <c:pt idx="1850">
                  <c:v>2.4809749999999999</c:v>
                </c:pt>
                <c:pt idx="1851">
                  <c:v>2.4654440000000002</c:v>
                </c:pt>
                <c:pt idx="1852">
                  <c:v>2.8128690000000001</c:v>
                </c:pt>
                <c:pt idx="1853">
                  <c:v>3.2457569999999998</c:v>
                </c:pt>
                <c:pt idx="1854">
                  <c:v>3.6866699999999999</c:v>
                </c:pt>
                <c:pt idx="1855">
                  <c:v>3.038923</c:v>
                </c:pt>
                <c:pt idx="1856">
                  <c:v>1.747603</c:v>
                </c:pt>
                <c:pt idx="1857">
                  <c:v>2.6053069999999998</c:v>
                </c:pt>
                <c:pt idx="1858">
                  <c:v>2.964432</c:v>
                </c:pt>
                <c:pt idx="1859">
                  <c:v>2.8238509999999999</c:v>
                </c:pt>
                <c:pt idx="1860">
                  <c:v>2.281533</c:v>
                </c:pt>
                <c:pt idx="1861">
                  <c:v>2.6508690000000001</c:v>
                </c:pt>
                <c:pt idx="1862">
                  <c:v>2.5777809999999999</c:v>
                </c:pt>
                <c:pt idx="1863">
                  <c:v>3.301237</c:v>
                </c:pt>
                <c:pt idx="1864">
                  <c:v>3.3881939999999999</c:v>
                </c:pt>
                <c:pt idx="1865">
                  <c:v>2.6641149999999998</c:v>
                </c:pt>
                <c:pt idx="1866">
                  <c:v>2.3679960000000002</c:v>
                </c:pt>
                <c:pt idx="1867">
                  <c:v>2.555552</c:v>
                </c:pt>
                <c:pt idx="1868">
                  <c:v>2.3920119999999998</c:v>
                </c:pt>
                <c:pt idx="1869">
                  <c:v>3.3189929999999999</c:v>
                </c:pt>
                <c:pt idx="1870">
                  <c:v>2.6469079999999998</c:v>
                </c:pt>
                <c:pt idx="1871">
                  <c:v>3.0114380000000001</c:v>
                </c:pt>
                <c:pt idx="1872">
                  <c:v>2.007393</c:v>
                </c:pt>
                <c:pt idx="1873">
                  <c:v>2.452258</c:v>
                </c:pt>
                <c:pt idx="1874">
                  <c:v>2.2770890000000001</c:v>
                </c:pt>
                <c:pt idx="1875">
                  <c:v>2.004518</c:v>
                </c:pt>
                <c:pt idx="1876">
                  <c:v>2.2251820000000002</c:v>
                </c:pt>
                <c:pt idx="1877">
                  <c:v>3.0297049999999999</c:v>
                </c:pt>
                <c:pt idx="1878">
                  <c:v>2.3043650000000002</c:v>
                </c:pt>
                <c:pt idx="1879">
                  <c:v>2.9295360000000001</c:v>
                </c:pt>
                <c:pt idx="1880">
                  <c:v>3.3204289999999999</c:v>
                </c:pt>
                <c:pt idx="1881">
                  <c:v>2.5010810000000001</c:v>
                </c:pt>
                <c:pt idx="1882">
                  <c:v>2.637222</c:v>
                </c:pt>
                <c:pt idx="1883">
                  <c:v>3.055304</c:v>
                </c:pt>
                <c:pt idx="1884">
                  <c:v>2.705695</c:v>
                </c:pt>
                <c:pt idx="1885">
                  <c:v>2.0975130000000002</c:v>
                </c:pt>
                <c:pt idx="1886">
                  <c:v>2.5651120000000001</c:v>
                </c:pt>
                <c:pt idx="1887">
                  <c:v>2.145</c:v>
                </c:pt>
                <c:pt idx="1888">
                  <c:v>2.1408559999999999</c:v>
                </c:pt>
                <c:pt idx="1889">
                  <c:v>2.6420490000000001</c:v>
                </c:pt>
                <c:pt idx="1890">
                  <c:v>2.5845289999999999</c:v>
                </c:pt>
                <c:pt idx="1891">
                  <c:v>2.0190959999999998</c:v>
                </c:pt>
                <c:pt idx="1892">
                  <c:v>2.1083620000000001</c:v>
                </c:pt>
                <c:pt idx="1893">
                  <c:v>1.855677</c:v>
                </c:pt>
                <c:pt idx="1894">
                  <c:v>2.095952</c:v>
                </c:pt>
                <c:pt idx="1895">
                  <c:v>2.3934250000000001</c:v>
                </c:pt>
                <c:pt idx="1896">
                  <c:v>2.6847150000000002</c:v>
                </c:pt>
                <c:pt idx="1897">
                  <c:v>2.6866129999999999</c:v>
                </c:pt>
                <c:pt idx="1898">
                  <c:v>2.275039</c:v>
                </c:pt>
                <c:pt idx="1899">
                  <c:v>2.676463</c:v>
                </c:pt>
                <c:pt idx="1900">
                  <c:v>2.6490779999999998</c:v>
                </c:pt>
                <c:pt idx="1901">
                  <c:v>3.024432</c:v>
                </c:pt>
                <c:pt idx="1902">
                  <c:v>2.820255</c:v>
                </c:pt>
                <c:pt idx="1903">
                  <c:v>2.6594470000000001</c:v>
                </c:pt>
                <c:pt idx="1904">
                  <c:v>2.19815</c:v>
                </c:pt>
                <c:pt idx="1905">
                  <c:v>2.7343250000000001</c:v>
                </c:pt>
                <c:pt idx="1906">
                  <c:v>2.7003780000000002</c:v>
                </c:pt>
                <c:pt idx="1907">
                  <c:v>2.4469780000000001</c:v>
                </c:pt>
                <c:pt idx="1908">
                  <c:v>1.5769679999999999</c:v>
                </c:pt>
                <c:pt idx="1909">
                  <c:v>1.9772940000000001</c:v>
                </c:pt>
                <c:pt idx="1910">
                  <c:v>2.1301670000000001</c:v>
                </c:pt>
                <c:pt idx="1911">
                  <c:v>2.2959809999999998</c:v>
                </c:pt>
                <c:pt idx="1912">
                  <c:v>2.1632159999999998</c:v>
                </c:pt>
                <c:pt idx="1913">
                  <c:v>2.4906290000000002</c:v>
                </c:pt>
                <c:pt idx="1914">
                  <c:v>2.2401650000000002</c:v>
                </c:pt>
                <c:pt idx="1915">
                  <c:v>1.971098</c:v>
                </c:pt>
                <c:pt idx="1916">
                  <c:v>3.0007350000000002</c:v>
                </c:pt>
                <c:pt idx="1917">
                  <c:v>2.6670379999999998</c:v>
                </c:pt>
                <c:pt idx="1918">
                  <c:v>1.7961020000000001</c:v>
                </c:pt>
                <c:pt idx="1919">
                  <c:v>2.4846400000000002</c:v>
                </c:pt>
                <c:pt idx="1920">
                  <c:v>2.345364</c:v>
                </c:pt>
                <c:pt idx="1921">
                  <c:v>3.0191819999999998</c:v>
                </c:pt>
                <c:pt idx="1922">
                  <c:v>2.06623</c:v>
                </c:pt>
                <c:pt idx="1923">
                  <c:v>2.7001309999999998</c:v>
                </c:pt>
                <c:pt idx="1924">
                  <c:v>2.3528660000000001</c:v>
                </c:pt>
                <c:pt idx="1925">
                  <c:v>3.6887750000000001</c:v>
                </c:pt>
                <c:pt idx="1926">
                  <c:v>3.2689080000000001</c:v>
                </c:pt>
                <c:pt idx="1927">
                  <c:v>2.5972089999999999</c:v>
                </c:pt>
                <c:pt idx="1928">
                  <c:v>2.6468029999999998</c:v>
                </c:pt>
                <c:pt idx="1929">
                  <c:v>3.7466970000000002</c:v>
                </c:pt>
                <c:pt idx="1930">
                  <c:v>2.8266529999999999</c:v>
                </c:pt>
                <c:pt idx="1931">
                  <c:v>2.8919839999999999</c:v>
                </c:pt>
                <c:pt idx="1932">
                  <c:v>2.3348089999999999</c:v>
                </c:pt>
                <c:pt idx="1933">
                  <c:v>2.288894</c:v>
                </c:pt>
                <c:pt idx="1934">
                  <c:v>2.5512730000000001</c:v>
                </c:pt>
                <c:pt idx="1935">
                  <c:v>2.3459150000000002</c:v>
                </c:pt>
                <c:pt idx="1936">
                  <c:v>2.4410409999999998</c:v>
                </c:pt>
                <c:pt idx="1937">
                  <c:v>2.7392590000000001</c:v>
                </c:pt>
                <c:pt idx="1938">
                  <c:v>3.370276</c:v>
                </c:pt>
                <c:pt idx="1939">
                  <c:v>3.3509169999999999</c:v>
                </c:pt>
                <c:pt idx="1940">
                  <c:v>4.0705920000000004</c:v>
                </c:pt>
                <c:pt idx="1941">
                  <c:v>3.8921070000000002</c:v>
                </c:pt>
                <c:pt idx="1942">
                  <c:v>5.2244840000000003</c:v>
                </c:pt>
                <c:pt idx="1943">
                  <c:v>3.634531</c:v>
                </c:pt>
                <c:pt idx="1944">
                  <c:v>4.3380780000000003</c:v>
                </c:pt>
                <c:pt idx="1945">
                  <c:v>3.3019370000000001</c:v>
                </c:pt>
                <c:pt idx="1946">
                  <c:v>2.8478840000000001</c:v>
                </c:pt>
                <c:pt idx="1947">
                  <c:v>3.7416230000000001</c:v>
                </c:pt>
                <c:pt idx="1948">
                  <c:v>2.42421</c:v>
                </c:pt>
                <c:pt idx="1949">
                  <c:v>2.5532560000000002</c:v>
                </c:pt>
                <c:pt idx="1950">
                  <c:v>2.4555850000000001</c:v>
                </c:pt>
                <c:pt idx="1951">
                  <c:v>2.7723100000000001</c:v>
                </c:pt>
                <c:pt idx="1952">
                  <c:v>3.0934349999999999</c:v>
                </c:pt>
                <c:pt idx="1953">
                  <c:v>2.167192</c:v>
                </c:pt>
                <c:pt idx="1954">
                  <c:v>2.5248590000000002</c:v>
                </c:pt>
                <c:pt idx="1955">
                  <c:v>2.8246910000000001</c:v>
                </c:pt>
                <c:pt idx="1956">
                  <c:v>3.034402</c:v>
                </c:pt>
                <c:pt idx="1957">
                  <c:v>2.6376900000000001</c:v>
                </c:pt>
                <c:pt idx="1958">
                  <c:v>2.1487630000000002</c:v>
                </c:pt>
                <c:pt idx="1959">
                  <c:v>2.6945519999999998</c:v>
                </c:pt>
                <c:pt idx="1960">
                  <c:v>2.8506019999999999</c:v>
                </c:pt>
                <c:pt idx="1961">
                  <c:v>3.0883210000000001</c:v>
                </c:pt>
                <c:pt idx="1962">
                  <c:v>3.36225</c:v>
                </c:pt>
                <c:pt idx="1963">
                  <c:v>3.0167830000000002</c:v>
                </c:pt>
                <c:pt idx="1964">
                  <c:v>3.0767039999999999</c:v>
                </c:pt>
                <c:pt idx="1965">
                  <c:v>4.7258579999999997</c:v>
                </c:pt>
                <c:pt idx="1966">
                  <c:v>4.4035260000000003</c:v>
                </c:pt>
                <c:pt idx="1967">
                  <c:v>3.4088250000000002</c:v>
                </c:pt>
                <c:pt idx="1968">
                  <c:v>3.807817</c:v>
                </c:pt>
                <c:pt idx="1969">
                  <c:v>3.476416</c:v>
                </c:pt>
                <c:pt idx="1970">
                  <c:v>4.3250190000000002</c:v>
                </c:pt>
                <c:pt idx="1971">
                  <c:v>3.5520689999999999</c:v>
                </c:pt>
                <c:pt idx="1972">
                  <c:v>5.4823539999999999</c:v>
                </c:pt>
                <c:pt idx="1973">
                  <c:v>3.8072149999999998</c:v>
                </c:pt>
                <c:pt idx="1974">
                  <c:v>3.248929</c:v>
                </c:pt>
                <c:pt idx="1975">
                  <c:v>3.9421529999999998</c:v>
                </c:pt>
                <c:pt idx="1976">
                  <c:v>2.6683620000000001</c:v>
                </c:pt>
                <c:pt idx="1977">
                  <c:v>3.3626499999999999</c:v>
                </c:pt>
                <c:pt idx="1978">
                  <c:v>3.0197050000000001</c:v>
                </c:pt>
                <c:pt idx="1979">
                  <c:v>4.3810330000000004</c:v>
                </c:pt>
                <c:pt idx="1980">
                  <c:v>3.5033340000000002</c:v>
                </c:pt>
                <c:pt idx="1981">
                  <c:v>3.0614319999999999</c:v>
                </c:pt>
                <c:pt idx="1982">
                  <c:v>3.7486139999999999</c:v>
                </c:pt>
                <c:pt idx="1983">
                  <c:v>3.8871319999999998</c:v>
                </c:pt>
                <c:pt idx="1984">
                  <c:v>3.5091950000000001</c:v>
                </c:pt>
                <c:pt idx="1985">
                  <c:v>2.641305</c:v>
                </c:pt>
                <c:pt idx="1986">
                  <c:v>3.3727450000000001</c:v>
                </c:pt>
                <c:pt idx="1987">
                  <c:v>3.6800999999999999</c:v>
                </c:pt>
                <c:pt idx="1988">
                  <c:v>3.82395</c:v>
                </c:pt>
                <c:pt idx="1989">
                  <c:v>3.660812</c:v>
                </c:pt>
                <c:pt idx="1990">
                  <c:v>3.932798</c:v>
                </c:pt>
                <c:pt idx="1991">
                  <c:v>3.8851900000000001</c:v>
                </c:pt>
                <c:pt idx="1992">
                  <c:v>3.8635999999999999</c:v>
                </c:pt>
                <c:pt idx="1993">
                  <c:v>3.4644330000000001</c:v>
                </c:pt>
                <c:pt idx="1994">
                  <c:v>3.5653329999999999</c:v>
                </c:pt>
                <c:pt idx="1995">
                  <c:v>3.4156179999999998</c:v>
                </c:pt>
                <c:pt idx="1996">
                  <c:v>2.9113020000000001</c:v>
                </c:pt>
                <c:pt idx="1997">
                  <c:v>3.9300799999999998</c:v>
                </c:pt>
                <c:pt idx="1998">
                  <c:v>3.1135839999999999</c:v>
                </c:pt>
                <c:pt idx="1999">
                  <c:v>2.861307</c:v>
                </c:pt>
                <c:pt idx="2000">
                  <c:v>3.0320360000000002</c:v>
                </c:pt>
                <c:pt idx="2001">
                  <c:v>3.6577980000000001</c:v>
                </c:pt>
                <c:pt idx="2002">
                  <c:v>5.1342030000000003</c:v>
                </c:pt>
                <c:pt idx="2003">
                  <c:v>3.9372859999999998</c:v>
                </c:pt>
                <c:pt idx="2004">
                  <c:v>3.5282089999999999</c:v>
                </c:pt>
                <c:pt idx="2005">
                  <c:v>3.3123849999999999</c:v>
                </c:pt>
                <c:pt idx="2006">
                  <c:v>1.4932289999999999</c:v>
                </c:pt>
                <c:pt idx="2007">
                  <c:v>2.7664770000000001</c:v>
                </c:pt>
                <c:pt idx="2008">
                  <c:v>2.9232689999999999</c:v>
                </c:pt>
                <c:pt idx="2009">
                  <c:v>3.4564370000000002</c:v>
                </c:pt>
                <c:pt idx="2010">
                  <c:v>2.1965880000000002</c:v>
                </c:pt>
                <c:pt idx="2011">
                  <c:v>2.6963279999999998</c:v>
                </c:pt>
                <c:pt idx="2012">
                  <c:v>2.0028419999999998</c:v>
                </c:pt>
                <c:pt idx="2013">
                  <c:v>2.3415729999999999</c:v>
                </c:pt>
                <c:pt idx="2014">
                  <c:v>3.9436070000000001</c:v>
                </c:pt>
                <c:pt idx="2015">
                  <c:v>3.5011359999999998</c:v>
                </c:pt>
                <c:pt idx="2016">
                  <c:v>3.1718630000000001</c:v>
                </c:pt>
                <c:pt idx="2017">
                  <c:v>3.2290019999999999</c:v>
                </c:pt>
                <c:pt idx="2018">
                  <c:v>3.269638</c:v>
                </c:pt>
                <c:pt idx="2019">
                  <c:v>3.0064199999999999</c:v>
                </c:pt>
                <c:pt idx="2020">
                  <c:v>2.835426</c:v>
                </c:pt>
                <c:pt idx="2021">
                  <c:v>2.5804719999999999</c:v>
                </c:pt>
                <c:pt idx="2022">
                  <c:v>3.281377</c:v>
                </c:pt>
                <c:pt idx="2023">
                  <c:v>4.5674849999999996</c:v>
                </c:pt>
                <c:pt idx="2024">
                  <c:v>4.1637170000000001</c:v>
                </c:pt>
                <c:pt idx="2025">
                  <c:v>3.6173540000000002</c:v>
                </c:pt>
                <c:pt idx="2026">
                  <c:v>4.4089939999999999</c:v>
                </c:pt>
                <c:pt idx="2027">
                  <c:v>4.4484919999999999</c:v>
                </c:pt>
                <c:pt idx="2028">
                  <c:v>4.1774649999999998</c:v>
                </c:pt>
                <c:pt idx="2029">
                  <c:v>3.3384040000000001</c:v>
                </c:pt>
                <c:pt idx="2030">
                  <c:v>3.6514709999999999</c:v>
                </c:pt>
                <c:pt idx="2031">
                  <c:v>2.9241190000000001</c:v>
                </c:pt>
                <c:pt idx="2032">
                  <c:v>3.3251339999999998</c:v>
                </c:pt>
                <c:pt idx="2033">
                  <c:v>3.3252259999999998</c:v>
                </c:pt>
                <c:pt idx="2034">
                  <c:v>2.8182420000000001</c:v>
                </c:pt>
                <c:pt idx="2035">
                  <c:v>3.1723729999999999</c:v>
                </c:pt>
                <c:pt idx="2036">
                  <c:v>3.1349339999999999</c:v>
                </c:pt>
                <c:pt idx="2037">
                  <c:v>2.092206</c:v>
                </c:pt>
                <c:pt idx="2038">
                  <c:v>4.0166620000000002</c:v>
                </c:pt>
                <c:pt idx="2039">
                  <c:v>2.266289</c:v>
                </c:pt>
                <c:pt idx="2040">
                  <c:v>3.3547169999999999</c:v>
                </c:pt>
                <c:pt idx="2041">
                  <c:v>3.3388840000000002</c:v>
                </c:pt>
                <c:pt idx="2042">
                  <c:v>3.2999529999999999</c:v>
                </c:pt>
                <c:pt idx="2043">
                  <c:v>3.1396130000000002</c:v>
                </c:pt>
                <c:pt idx="2044">
                  <c:v>0.25908500000000001</c:v>
                </c:pt>
                <c:pt idx="2045">
                  <c:v>2.2742520000000002</c:v>
                </c:pt>
                <c:pt idx="2046">
                  <c:v>3.4780009999999999</c:v>
                </c:pt>
                <c:pt idx="2047">
                  <c:v>4.2636919999999998</c:v>
                </c:pt>
                <c:pt idx="2048">
                  <c:v>4.977519</c:v>
                </c:pt>
                <c:pt idx="2049">
                  <c:v>3.543895</c:v>
                </c:pt>
                <c:pt idx="2050">
                  <c:v>4.1897859999999998</c:v>
                </c:pt>
                <c:pt idx="2051">
                  <c:v>2.9395340000000001</c:v>
                </c:pt>
                <c:pt idx="2052">
                  <c:v>4.1866000000000003</c:v>
                </c:pt>
                <c:pt idx="2053">
                  <c:v>4.5171619999999999</c:v>
                </c:pt>
                <c:pt idx="2054">
                  <c:v>2.6471309999999999</c:v>
                </c:pt>
                <c:pt idx="2055">
                  <c:v>2.6118139999999999</c:v>
                </c:pt>
                <c:pt idx="2056">
                  <c:v>3.2335950000000002</c:v>
                </c:pt>
                <c:pt idx="2057">
                  <c:v>3.2803589999999998</c:v>
                </c:pt>
                <c:pt idx="2058">
                  <c:v>3.2682500000000001</c:v>
                </c:pt>
                <c:pt idx="2059">
                  <c:v>3.4315989999999998</c:v>
                </c:pt>
                <c:pt idx="2060">
                  <c:v>5.2833779999999999</c:v>
                </c:pt>
                <c:pt idx="2061">
                  <c:v>4.1424289999999999</c:v>
                </c:pt>
                <c:pt idx="2062">
                  <c:v>4.2495890000000003</c:v>
                </c:pt>
                <c:pt idx="2063">
                  <c:v>3.711068</c:v>
                </c:pt>
                <c:pt idx="2064">
                  <c:v>5.0148720000000004</c:v>
                </c:pt>
                <c:pt idx="2065">
                  <c:v>4.4123140000000003</c:v>
                </c:pt>
                <c:pt idx="2066">
                  <c:v>3.5352410000000001</c:v>
                </c:pt>
                <c:pt idx="2067">
                  <c:v>3.1274500000000001</c:v>
                </c:pt>
                <c:pt idx="2068">
                  <c:v>2.2937069999999999</c:v>
                </c:pt>
                <c:pt idx="2069">
                  <c:v>3.0242960000000001</c:v>
                </c:pt>
                <c:pt idx="2070">
                  <c:v>2.975438</c:v>
                </c:pt>
                <c:pt idx="2071">
                  <c:v>2.9656609999999999</c:v>
                </c:pt>
                <c:pt idx="2072">
                  <c:v>1.2362519999999999</c:v>
                </c:pt>
                <c:pt idx="2073">
                  <c:v>1.754043</c:v>
                </c:pt>
                <c:pt idx="2074">
                  <c:v>3.2231139999999998</c:v>
                </c:pt>
                <c:pt idx="2075">
                  <c:v>4.5678640000000001</c:v>
                </c:pt>
                <c:pt idx="2076">
                  <c:v>2.9539979999999999</c:v>
                </c:pt>
                <c:pt idx="2077">
                  <c:v>2.712844</c:v>
                </c:pt>
                <c:pt idx="2078">
                  <c:v>2.5240420000000001</c:v>
                </c:pt>
                <c:pt idx="2079">
                  <c:v>3.6193270000000002</c:v>
                </c:pt>
                <c:pt idx="2080">
                  <c:v>2.9312269999999998</c:v>
                </c:pt>
                <c:pt idx="2081">
                  <c:v>6.4892519999999996</c:v>
                </c:pt>
                <c:pt idx="2082">
                  <c:v>3.9183840000000001</c:v>
                </c:pt>
                <c:pt idx="2083">
                  <c:v>2.6651570000000002</c:v>
                </c:pt>
                <c:pt idx="2084">
                  <c:v>3.3280530000000002</c:v>
                </c:pt>
                <c:pt idx="2085">
                  <c:v>3.0821890000000001</c:v>
                </c:pt>
                <c:pt idx="2086">
                  <c:v>4.2953419999999998</c:v>
                </c:pt>
                <c:pt idx="2087">
                  <c:v>3.4009209999999999</c:v>
                </c:pt>
                <c:pt idx="2088">
                  <c:v>2.1927150000000002</c:v>
                </c:pt>
                <c:pt idx="2089">
                  <c:v>2.098017</c:v>
                </c:pt>
                <c:pt idx="2090">
                  <c:v>2.5174080000000001</c:v>
                </c:pt>
                <c:pt idx="2091">
                  <c:v>2.4995099999999999</c:v>
                </c:pt>
                <c:pt idx="2092">
                  <c:v>3.0045950000000001</c:v>
                </c:pt>
                <c:pt idx="2093">
                  <c:v>2.2152189999999998</c:v>
                </c:pt>
                <c:pt idx="2094">
                  <c:v>1.661977</c:v>
                </c:pt>
                <c:pt idx="2095">
                  <c:v>2.187468</c:v>
                </c:pt>
                <c:pt idx="2096">
                  <c:v>2.7643620000000002</c:v>
                </c:pt>
                <c:pt idx="2097">
                  <c:v>1.031307</c:v>
                </c:pt>
                <c:pt idx="2098">
                  <c:v>2.3430620000000002</c:v>
                </c:pt>
                <c:pt idx="2099">
                  <c:v>3.0635870000000001</c:v>
                </c:pt>
                <c:pt idx="2100">
                  <c:v>2.7096019999999998</c:v>
                </c:pt>
                <c:pt idx="2101">
                  <c:v>2.2884630000000001</c:v>
                </c:pt>
                <c:pt idx="2102">
                  <c:v>1.952556</c:v>
                </c:pt>
                <c:pt idx="2103">
                  <c:v>2.1974239999999998</c:v>
                </c:pt>
                <c:pt idx="2104">
                  <c:v>2.7804519999999999</c:v>
                </c:pt>
                <c:pt idx="2105">
                  <c:v>2.2710780000000002</c:v>
                </c:pt>
                <c:pt idx="2106">
                  <c:v>2.7212610000000002</c:v>
                </c:pt>
                <c:pt idx="2107">
                  <c:v>2.853415</c:v>
                </c:pt>
                <c:pt idx="2108">
                  <c:v>1.9885919999999999</c:v>
                </c:pt>
                <c:pt idx="2109">
                  <c:v>2.548082</c:v>
                </c:pt>
                <c:pt idx="2110">
                  <c:v>2.3791890000000002</c:v>
                </c:pt>
                <c:pt idx="2111">
                  <c:v>2.6321119999999998</c:v>
                </c:pt>
                <c:pt idx="2112">
                  <c:v>1.467409</c:v>
                </c:pt>
                <c:pt idx="2113">
                  <c:v>2.4684699999999999</c:v>
                </c:pt>
                <c:pt idx="2114">
                  <c:v>1.9750620000000001</c:v>
                </c:pt>
                <c:pt idx="2115">
                  <c:v>2.0829749999999998</c:v>
                </c:pt>
                <c:pt idx="2116">
                  <c:v>2.253908</c:v>
                </c:pt>
                <c:pt idx="2117">
                  <c:v>1.5173319999999999</c:v>
                </c:pt>
                <c:pt idx="2118">
                  <c:v>2.3177819999999998</c:v>
                </c:pt>
                <c:pt idx="2119">
                  <c:v>2.379184</c:v>
                </c:pt>
                <c:pt idx="2120">
                  <c:v>2.8181799999999999</c:v>
                </c:pt>
                <c:pt idx="2121">
                  <c:v>2.8663110000000001</c:v>
                </c:pt>
                <c:pt idx="2122">
                  <c:v>0.94453900000000002</c:v>
                </c:pt>
                <c:pt idx="2123">
                  <c:v>3.5648590000000002</c:v>
                </c:pt>
                <c:pt idx="2124">
                  <c:v>3.5774249999999999</c:v>
                </c:pt>
                <c:pt idx="2125">
                  <c:v>3.7902079999999998</c:v>
                </c:pt>
                <c:pt idx="2126">
                  <c:v>3.6377920000000001</c:v>
                </c:pt>
                <c:pt idx="2127">
                  <c:v>3.2769499999999998</c:v>
                </c:pt>
                <c:pt idx="2128">
                  <c:v>2.3166380000000002</c:v>
                </c:pt>
                <c:pt idx="2129">
                  <c:v>2.7926150000000001</c:v>
                </c:pt>
                <c:pt idx="2130">
                  <c:v>2.3753060000000001</c:v>
                </c:pt>
                <c:pt idx="2131">
                  <c:v>1.9507110000000001</c:v>
                </c:pt>
                <c:pt idx="2132">
                  <c:v>1.964693</c:v>
                </c:pt>
                <c:pt idx="2133">
                  <c:v>2.5064929999999999</c:v>
                </c:pt>
                <c:pt idx="2134">
                  <c:v>3.1527430000000001</c:v>
                </c:pt>
                <c:pt idx="2135">
                  <c:v>2.6990460000000001</c:v>
                </c:pt>
                <c:pt idx="2136">
                  <c:v>2.6865649999999999</c:v>
                </c:pt>
                <c:pt idx="2137">
                  <c:v>1.445859</c:v>
                </c:pt>
                <c:pt idx="2138">
                  <c:v>3.2684609999999998</c:v>
                </c:pt>
                <c:pt idx="2139">
                  <c:v>3.3576220000000001</c:v>
                </c:pt>
                <c:pt idx="2140">
                  <c:v>2.9978899999999999</c:v>
                </c:pt>
                <c:pt idx="2141">
                  <c:v>2.4052090000000002</c:v>
                </c:pt>
                <c:pt idx="2142">
                  <c:v>1.996548</c:v>
                </c:pt>
                <c:pt idx="2143">
                  <c:v>3.369065</c:v>
                </c:pt>
                <c:pt idx="2144">
                  <c:v>2.021801</c:v>
                </c:pt>
                <c:pt idx="2145">
                  <c:v>2.0453519999999998</c:v>
                </c:pt>
                <c:pt idx="2146">
                  <c:v>2.3535590000000002</c:v>
                </c:pt>
                <c:pt idx="2147">
                  <c:v>2.9313570000000002</c:v>
                </c:pt>
                <c:pt idx="2148">
                  <c:v>2.859899</c:v>
                </c:pt>
                <c:pt idx="2149">
                  <c:v>1.9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545-46A0-9BFE-695E5EB463FD}"/>
            </c:ext>
          </c:extLst>
        </c:ser>
        <c:ser>
          <c:idx val="1"/>
          <c:order val="1"/>
          <c:tx>
            <c:v>USDRUB today</c:v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Q$9:$Q$2158</c:f>
              <c:numCache>
                <c:formatCode>yyyy\-mm\-dd;@</c:formatCode>
                <c:ptCount val="2150"/>
                <c:pt idx="0">
                  <c:v>41283</c:v>
                </c:pt>
                <c:pt idx="1">
                  <c:v>41284</c:v>
                </c:pt>
                <c:pt idx="2">
                  <c:v>41285</c:v>
                </c:pt>
                <c:pt idx="3">
                  <c:v>41288</c:v>
                </c:pt>
                <c:pt idx="4">
                  <c:v>41289</c:v>
                </c:pt>
                <c:pt idx="5">
                  <c:v>41290</c:v>
                </c:pt>
                <c:pt idx="6">
                  <c:v>41291</c:v>
                </c:pt>
                <c:pt idx="7">
                  <c:v>41292</c:v>
                </c:pt>
                <c:pt idx="8">
                  <c:v>41295</c:v>
                </c:pt>
                <c:pt idx="9">
                  <c:v>41296</c:v>
                </c:pt>
                <c:pt idx="10">
                  <c:v>41297</c:v>
                </c:pt>
                <c:pt idx="11">
                  <c:v>41298</c:v>
                </c:pt>
                <c:pt idx="12">
                  <c:v>41299</c:v>
                </c:pt>
                <c:pt idx="13">
                  <c:v>41302</c:v>
                </c:pt>
                <c:pt idx="14">
                  <c:v>41303</c:v>
                </c:pt>
                <c:pt idx="15">
                  <c:v>41304</c:v>
                </c:pt>
                <c:pt idx="16">
                  <c:v>41305</c:v>
                </c:pt>
                <c:pt idx="17">
                  <c:v>41306</c:v>
                </c:pt>
                <c:pt idx="18">
                  <c:v>41309</c:v>
                </c:pt>
                <c:pt idx="19">
                  <c:v>41310</c:v>
                </c:pt>
                <c:pt idx="20">
                  <c:v>41311</c:v>
                </c:pt>
                <c:pt idx="21">
                  <c:v>41312</c:v>
                </c:pt>
                <c:pt idx="22">
                  <c:v>41313</c:v>
                </c:pt>
                <c:pt idx="23">
                  <c:v>41316</c:v>
                </c:pt>
                <c:pt idx="24">
                  <c:v>41317</c:v>
                </c:pt>
                <c:pt idx="25">
                  <c:v>41318</c:v>
                </c:pt>
                <c:pt idx="26">
                  <c:v>41319</c:v>
                </c:pt>
                <c:pt idx="27">
                  <c:v>41320</c:v>
                </c:pt>
                <c:pt idx="28">
                  <c:v>41323</c:v>
                </c:pt>
                <c:pt idx="29">
                  <c:v>41324</c:v>
                </c:pt>
                <c:pt idx="30">
                  <c:v>41325</c:v>
                </c:pt>
                <c:pt idx="31">
                  <c:v>41326</c:v>
                </c:pt>
                <c:pt idx="32">
                  <c:v>41327</c:v>
                </c:pt>
                <c:pt idx="33">
                  <c:v>41330</c:v>
                </c:pt>
                <c:pt idx="34">
                  <c:v>41331</c:v>
                </c:pt>
                <c:pt idx="35">
                  <c:v>41332</c:v>
                </c:pt>
                <c:pt idx="36">
                  <c:v>41333</c:v>
                </c:pt>
                <c:pt idx="37">
                  <c:v>41334</c:v>
                </c:pt>
                <c:pt idx="38">
                  <c:v>41337</c:v>
                </c:pt>
                <c:pt idx="39">
                  <c:v>41338</c:v>
                </c:pt>
                <c:pt idx="40">
                  <c:v>41339</c:v>
                </c:pt>
                <c:pt idx="41">
                  <c:v>41340</c:v>
                </c:pt>
                <c:pt idx="42">
                  <c:v>41344</c:v>
                </c:pt>
                <c:pt idx="43">
                  <c:v>41345</c:v>
                </c:pt>
                <c:pt idx="44">
                  <c:v>41346</c:v>
                </c:pt>
                <c:pt idx="45">
                  <c:v>41347</c:v>
                </c:pt>
                <c:pt idx="46">
                  <c:v>41348</c:v>
                </c:pt>
                <c:pt idx="47">
                  <c:v>41351</c:v>
                </c:pt>
                <c:pt idx="48">
                  <c:v>41352</c:v>
                </c:pt>
                <c:pt idx="49">
                  <c:v>41353</c:v>
                </c:pt>
                <c:pt idx="50">
                  <c:v>41354</c:v>
                </c:pt>
                <c:pt idx="51">
                  <c:v>41355</c:v>
                </c:pt>
                <c:pt idx="52">
                  <c:v>41358</c:v>
                </c:pt>
                <c:pt idx="53">
                  <c:v>41359</c:v>
                </c:pt>
                <c:pt idx="54">
                  <c:v>41360</c:v>
                </c:pt>
                <c:pt idx="55">
                  <c:v>41361</c:v>
                </c:pt>
                <c:pt idx="56">
                  <c:v>41362</c:v>
                </c:pt>
                <c:pt idx="57">
                  <c:v>41365</c:v>
                </c:pt>
                <c:pt idx="58">
                  <c:v>41366</c:v>
                </c:pt>
                <c:pt idx="59">
                  <c:v>41367</c:v>
                </c:pt>
                <c:pt idx="60">
                  <c:v>41368</c:v>
                </c:pt>
                <c:pt idx="61">
                  <c:v>41369</c:v>
                </c:pt>
                <c:pt idx="62">
                  <c:v>41372</c:v>
                </c:pt>
                <c:pt idx="63">
                  <c:v>41373</c:v>
                </c:pt>
                <c:pt idx="64">
                  <c:v>41374</c:v>
                </c:pt>
                <c:pt idx="65">
                  <c:v>41375</c:v>
                </c:pt>
                <c:pt idx="66">
                  <c:v>41376</c:v>
                </c:pt>
                <c:pt idx="67">
                  <c:v>41379</c:v>
                </c:pt>
                <c:pt idx="68">
                  <c:v>41380</c:v>
                </c:pt>
                <c:pt idx="69">
                  <c:v>41381</c:v>
                </c:pt>
                <c:pt idx="70">
                  <c:v>41382</c:v>
                </c:pt>
                <c:pt idx="71">
                  <c:v>41383</c:v>
                </c:pt>
                <c:pt idx="72">
                  <c:v>41386</c:v>
                </c:pt>
                <c:pt idx="73">
                  <c:v>41387</c:v>
                </c:pt>
                <c:pt idx="74">
                  <c:v>41388</c:v>
                </c:pt>
                <c:pt idx="75">
                  <c:v>41389</c:v>
                </c:pt>
                <c:pt idx="76">
                  <c:v>41390</c:v>
                </c:pt>
                <c:pt idx="77">
                  <c:v>41393</c:v>
                </c:pt>
                <c:pt idx="78">
                  <c:v>41394</c:v>
                </c:pt>
                <c:pt idx="79">
                  <c:v>41396</c:v>
                </c:pt>
                <c:pt idx="80">
                  <c:v>41397</c:v>
                </c:pt>
                <c:pt idx="81">
                  <c:v>41400</c:v>
                </c:pt>
                <c:pt idx="82">
                  <c:v>41401</c:v>
                </c:pt>
                <c:pt idx="83">
                  <c:v>41402</c:v>
                </c:pt>
                <c:pt idx="84">
                  <c:v>41404</c:v>
                </c:pt>
                <c:pt idx="85">
                  <c:v>41407</c:v>
                </c:pt>
                <c:pt idx="86">
                  <c:v>41408</c:v>
                </c:pt>
                <c:pt idx="87">
                  <c:v>41409</c:v>
                </c:pt>
                <c:pt idx="88">
                  <c:v>41410</c:v>
                </c:pt>
                <c:pt idx="89">
                  <c:v>41411</c:v>
                </c:pt>
                <c:pt idx="90">
                  <c:v>41414</c:v>
                </c:pt>
                <c:pt idx="91">
                  <c:v>41415</c:v>
                </c:pt>
                <c:pt idx="92">
                  <c:v>41416</c:v>
                </c:pt>
                <c:pt idx="93">
                  <c:v>41417</c:v>
                </c:pt>
                <c:pt idx="94">
                  <c:v>41418</c:v>
                </c:pt>
                <c:pt idx="95">
                  <c:v>41421</c:v>
                </c:pt>
                <c:pt idx="96">
                  <c:v>41422</c:v>
                </c:pt>
                <c:pt idx="97">
                  <c:v>41423</c:v>
                </c:pt>
                <c:pt idx="98">
                  <c:v>41424</c:v>
                </c:pt>
                <c:pt idx="99">
                  <c:v>41425</c:v>
                </c:pt>
                <c:pt idx="100">
                  <c:v>41428</c:v>
                </c:pt>
                <c:pt idx="101">
                  <c:v>41429</c:v>
                </c:pt>
                <c:pt idx="102">
                  <c:v>41430</c:v>
                </c:pt>
                <c:pt idx="103">
                  <c:v>41431</c:v>
                </c:pt>
                <c:pt idx="104">
                  <c:v>41432</c:v>
                </c:pt>
                <c:pt idx="105">
                  <c:v>41435</c:v>
                </c:pt>
                <c:pt idx="106">
                  <c:v>41436</c:v>
                </c:pt>
                <c:pt idx="107">
                  <c:v>41438</c:v>
                </c:pt>
                <c:pt idx="108">
                  <c:v>41439</c:v>
                </c:pt>
                <c:pt idx="109">
                  <c:v>41442</c:v>
                </c:pt>
                <c:pt idx="110">
                  <c:v>41443</c:v>
                </c:pt>
                <c:pt idx="111">
                  <c:v>41444</c:v>
                </c:pt>
                <c:pt idx="112">
                  <c:v>41445</c:v>
                </c:pt>
                <c:pt idx="113">
                  <c:v>41446</c:v>
                </c:pt>
                <c:pt idx="114">
                  <c:v>41449</c:v>
                </c:pt>
                <c:pt idx="115">
                  <c:v>41450</c:v>
                </c:pt>
                <c:pt idx="116">
                  <c:v>41451</c:v>
                </c:pt>
                <c:pt idx="117">
                  <c:v>41452</c:v>
                </c:pt>
                <c:pt idx="118">
                  <c:v>41453</c:v>
                </c:pt>
                <c:pt idx="119">
                  <c:v>41456</c:v>
                </c:pt>
                <c:pt idx="120">
                  <c:v>41457</c:v>
                </c:pt>
                <c:pt idx="121">
                  <c:v>41458</c:v>
                </c:pt>
                <c:pt idx="122">
                  <c:v>41459</c:v>
                </c:pt>
                <c:pt idx="123">
                  <c:v>41460</c:v>
                </c:pt>
                <c:pt idx="124">
                  <c:v>41463</c:v>
                </c:pt>
                <c:pt idx="125">
                  <c:v>41464</c:v>
                </c:pt>
                <c:pt idx="126">
                  <c:v>41465</c:v>
                </c:pt>
                <c:pt idx="127">
                  <c:v>41466</c:v>
                </c:pt>
                <c:pt idx="128">
                  <c:v>41467</c:v>
                </c:pt>
                <c:pt idx="129">
                  <c:v>41470</c:v>
                </c:pt>
                <c:pt idx="130">
                  <c:v>41471</c:v>
                </c:pt>
                <c:pt idx="131">
                  <c:v>41472</c:v>
                </c:pt>
                <c:pt idx="132">
                  <c:v>41473</c:v>
                </c:pt>
                <c:pt idx="133">
                  <c:v>41474</c:v>
                </c:pt>
                <c:pt idx="134">
                  <c:v>41477</c:v>
                </c:pt>
                <c:pt idx="135">
                  <c:v>41478</c:v>
                </c:pt>
                <c:pt idx="136">
                  <c:v>41479</c:v>
                </c:pt>
                <c:pt idx="137">
                  <c:v>41480</c:v>
                </c:pt>
                <c:pt idx="138">
                  <c:v>41481</c:v>
                </c:pt>
                <c:pt idx="139">
                  <c:v>41484</c:v>
                </c:pt>
                <c:pt idx="140">
                  <c:v>41485</c:v>
                </c:pt>
                <c:pt idx="141">
                  <c:v>41486</c:v>
                </c:pt>
                <c:pt idx="142">
                  <c:v>41487</c:v>
                </c:pt>
                <c:pt idx="143">
                  <c:v>41488</c:v>
                </c:pt>
                <c:pt idx="144">
                  <c:v>41491</c:v>
                </c:pt>
                <c:pt idx="145">
                  <c:v>41492</c:v>
                </c:pt>
                <c:pt idx="146">
                  <c:v>41493</c:v>
                </c:pt>
                <c:pt idx="147">
                  <c:v>41494</c:v>
                </c:pt>
                <c:pt idx="148">
                  <c:v>41495</c:v>
                </c:pt>
                <c:pt idx="149">
                  <c:v>41498</c:v>
                </c:pt>
                <c:pt idx="150">
                  <c:v>41499</c:v>
                </c:pt>
                <c:pt idx="151">
                  <c:v>41500</c:v>
                </c:pt>
                <c:pt idx="152">
                  <c:v>41501</c:v>
                </c:pt>
                <c:pt idx="153">
                  <c:v>41502</c:v>
                </c:pt>
                <c:pt idx="154">
                  <c:v>41505</c:v>
                </c:pt>
                <c:pt idx="155">
                  <c:v>41506</c:v>
                </c:pt>
                <c:pt idx="156">
                  <c:v>41507</c:v>
                </c:pt>
                <c:pt idx="157">
                  <c:v>41508</c:v>
                </c:pt>
                <c:pt idx="158">
                  <c:v>41509</c:v>
                </c:pt>
                <c:pt idx="159">
                  <c:v>41512</c:v>
                </c:pt>
                <c:pt idx="160">
                  <c:v>41513</c:v>
                </c:pt>
                <c:pt idx="161">
                  <c:v>41514</c:v>
                </c:pt>
                <c:pt idx="162">
                  <c:v>41515</c:v>
                </c:pt>
                <c:pt idx="163">
                  <c:v>41516</c:v>
                </c:pt>
                <c:pt idx="164">
                  <c:v>41519</c:v>
                </c:pt>
                <c:pt idx="165">
                  <c:v>41520</c:v>
                </c:pt>
                <c:pt idx="166">
                  <c:v>41521</c:v>
                </c:pt>
                <c:pt idx="167">
                  <c:v>41522</c:v>
                </c:pt>
                <c:pt idx="168">
                  <c:v>41523</c:v>
                </c:pt>
                <c:pt idx="169">
                  <c:v>41526</c:v>
                </c:pt>
                <c:pt idx="170">
                  <c:v>41527</c:v>
                </c:pt>
                <c:pt idx="171">
                  <c:v>41528</c:v>
                </c:pt>
                <c:pt idx="172">
                  <c:v>41529</c:v>
                </c:pt>
                <c:pt idx="173">
                  <c:v>41530</c:v>
                </c:pt>
                <c:pt idx="174">
                  <c:v>41533</c:v>
                </c:pt>
                <c:pt idx="175">
                  <c:v>41534</c:v>
                </c:pt>
                <c:pt idx="176">
                  <c:v>41535</c:v>
                </c:pt>
                <c:pt idx="177">
                  <c:v>41536</c:v>
                </c:pt>
                <c:pt idx="178">
                  <c:v>41537</c:v>
                </c:pt>
                <c:pt idx="179">
                  <c:v>41540</c:v>
                </c:pt>
                <c:pt idx="180">
                  <c:v>41541</c:v>
                </c:pt>
                <c:pt idx="181">
                  <c:v>41542</c:v>
                </c:pt>
                <c:pt idx="182">
                  <c:v>41543</c:v>
                </c:pt>
                <c:pt idx="183">
                  <c:v>41544</c:v>
                </c:pt>
                <c:pt idx="184">
                  <c:v>41547</c:v>
                </c:pt>
                <c:pt idx="185">
                  <c:v>41548</c:v>
                </c:pt>
                <c:pt idx="186">
                  <c:v>41549</c:v>
                </c:pt>
                <c:pt idx="187">
                  <c:v>41550</c:v>
                </c:pt>
                <c:pt idx="188">
                  <c:v>41551</c:v>
                </c:pt>
                <c:pt idx="189">
                  <c:v>41554</c:v>
                </c:pt>
                <c:pt idx="190">
                  <c:v>41555</c:v>
                </c:pt>
                <c:pt idx="191">
                  <c:v>41556</c:v>
                </c:pt>
                <c:pt idx="192">
                  <c:v>41557</c:v>
                </c:pt>
                <c:pt idx="193">
                  <c:v>41558</c:v>
                </c:pt>
                <c:pt idx="194">
                  <c:v>41561</c:v>
                </c:pt>
                <c:pt idx="195">
                  <c:v>41562</c:v>
                </c:pt>
                <c:pt idx="196">
                  <c:v>41563</c:v>
                </c:pt>
                <c:pt idx="197">
                  <c:v>41564</c:v>
                </c:pt>
                <c:pt idx="198">
                  <c:v>41565</c:v>
                </c:pt>
                <c:pt idx="199">
                  <c:v>41568</c:v>
                </c:pt>
                <c:pt idx="200">
                  <c:v>41569</c:v>
                </c:pt>
                <c:pt idx="201">
                  <c:v>41570</c:v>
                </c:pt>
                <c:pt idx="202">
                  <c:v>41571</c:v>
                </c:pt>
                <c:pt idx="203">
                  <c:v>41572</c:v>
                </c:pt>
                <c:pt idx="204">
                  <c:v>41575</c:v>
                </c:pt>
                <c:pt idx="205">
                  <c:v>41576</c:v>
                </c:pt>
                <c:pt idx="206">
                  <c:v>41577</c:v>
                </c:pt>
                <c:pt idx="207">
                  <c:v>41578</c:v>
                </c:pt>
                <c:pt idx="208">
                  <c:v>41579</c:v>
                </c:pt>
                <c:pt idx="209">
                  <c:v>41583</c:v>
                </c:pt>
                <c:pt idx="210">
                  <c:v>41584</c:v>
                </c:pt>
                <c:pt idx="211">
                  <c:v>41585</c:v>
                </c:pt>
                <c:pt idx="212">
                  <c:v>41586</c:v>
                </c:pt>
                <c:pt idx="213">
                  <c:v>41589</c:v>
                </c:pt>
                <c:pt idx="214">
                  <c:v>41590</c:v>
                </c:pt>
                <c:pt idx="215">
                  <c:v>41591</c:v>
                </c:pt>
                <c:pt idx="216">
                  <c:v>41592</c:v>
                </c:pt>
                <c:pt idx="217">
                  <c:v>41593</c:v>
                </c:pt>
                <c:pt idx="218">
                  <c:v>41596</c:v>
                </c:pt>
                <c:pt idx="219">
                  <c:v>41597</c:v>
                </c:pt>
                <c:pt idx="220">
                  <c:v>41598</c:v>
                </c:pt>
                <c:pt idx="221">
                  <c:v>41599</c:v>
                </c:pt>
                <c:pt idx="222">
                  <c:v>41600</c:v>
                </c:pt>
                <c:pt idx="223">
                  <c:v>41603</c:v>
                </c:pt>
                <c:pt idx="224">
                  <c:v>41604</c:v>
                </c:pt>
                <c:pt idx="225">
                  <c:v>41605</c:v>
                </c:pt>
                <c:pt idx="226">
                  <c:v>41606</c:v>
                </c:pt>
                <c:pt idx="227">
                  <c:v>41607</c:v>
                </c:pt>
                <c:pt idx="228">
                  <c:v>41610</c:v>
                </c:pt>
                <c:pt idx="229">
                  <c:v>41611</c:v>
                </c:pt>
                <c:pt idx="230">
                  <c:v>41612</c:v>
                </c:pt>
                <c:pt idx="231">
                  <c:v>41613</c:v>
                </c:pt>
                <c:pt idx="232">
                  <c:v>41614</c:v>
                </c:pt>
                <c:pt idx="233">
                  <c:v>41617</c:v>
                </c:pt>
                <c:pt idx="234">
                  <c:v>41618</c:v>
                </c:pt>
                <c:pt idx="235">
                  <c:v>41619</c:v>
                </c:pt>
                <c:pt idx="236">
                  <c:v>41620</c:v>
                </c:pt>
                <c:pt idx="237">
                  <c:v>41621</c:v>
                </c:pt>
                <c:pt idx="238">
                  <c:v>41624</c:v>
                </c:pt>
                <c:pt idx="239">
                  <c:v>41625</c:v>
                </c:pt>
                <c:pt idx="240">
                  <c:v>41626</c:v>
                </c:pt>
                <c:pt idx="241">
                  <c:v>41627</c:v>
                </c:pt>
                <c:pt idx="242">
                  <c:v>41628</c:v>
                </c:pt>
                <c:pt idx="243">
                  <c:v>41631</c:v>
                </c:pt>
                <c:pt idx="244">
                  <c:v>41632</c:v>
                </c:pt>
                <c:pt idx="245">
                  <c:v>41633</c:v>
                </c:pt>
                <c:pt idx="246">
                  <c:v>41634</c:v>
                </c:pt>
                <c:pt idx="247">
                  <c:v>41635</c:v>
                </c:pt>
                <c:pt idx="248">
                  <c:v>41638</c:v>
                </c:pt>
                <c:pt idx="249">
                  <c:v>41645</c:v>
                </c:pt>
                <c:pt idx="250">
                  <c:v>41647</c:v>
                </c:pt>
                <c:pt idx="251">
                  <c:v>41648</c:v>
                </c:pt>
                <c:pt idx="252">
                  <c:v>41649</c:v>
                </c:pt>
                <c:pt idx="253">
                  <c:v>41652</c:v>
                </c:pt>
                <c:pt idx="254">
                  <c:v>41653</c:v>
                </c:pt>
                <c:pt idx="255">
                  <c:v>41654</c:v>
                </c:pt>
                <c:pt idx="256">
                  <c:v>41655</c:v>
                </c:pt>
                <c:pt idx="257">
                  <c:v>41656</c:v>
                </c:pt>
                <c:pt idx="258">
                  <c:v>41659</c:v>
                </c:pt>
                <c:pt idx="259">
                  <c:v>41660</c:v>
                </c:pt>
                <c:pt idx="260">
                  <c:v>41661</c:v>
                </c:pt>
                <c:pt idx="261">
                  <c:v>41662</c:v>
                </c:pt>
                <c:pt idx="262">
                  <c:v>41663</c:v>
                </c:pt>
                <c:pt idx="263">
                  <c:v>41666</c:v>
                </c:pt>
                <c:pt idx="264">
                  <c:v>41667</c:v>
                </c:pt>
                <c:pt idx="265">
                  <c:v>41668</c:v>
                </c:pt>
                <c:pt idx="266">
                  <c:v>41669</c:v>
                </c:pt>
                <c:pt idx="267">
                  <c:v>41670</c:v>
                </c:pt>
                <c:pt idx="268">
                  <c:v>41673</c:v>
                </c:pt>
                <c:pt idx="269">
                  <c:v>41674</c:v>
                </c:pt>
                <c:pt idx="270">
                  <c:v>41675</c:v>
                </c:pt>
                <c:pt idx="271">
                  <c:v>41676</c:v>
                </c:pt>
                <c:pt idx="272">
                  <c:v>41677</c:v>
                </c:pt>
                <c:pt idx="273">
                  <c:v>41680</c:v>
                </c:pt>
                <c:pt idx="274">
                  <c:v>41681</c:v>
                </c:pt>
                <c:pt idx="275">
                  <c:v>41682</c:v>
                </c:pt>
                <c:pt idx="276">
                  <c:v>41683</c:v>
                </c:pt>
                <c:pt idx="277">
                  <c:v>41684</c:v>
                </c:pt>
                <c:pt idx="278">
                  <c:v>41687</c:v>
                </c:pt>
                <c:pt idx="279">
                  <c:v>41688</c:v>
                </c:pt>
                <c:pt idx="280">
                  <c:v>41689</c:v>
                </c:pt>
                <c:pt idx="281">
                  <c:v>41690</c:v>
                </c:pt>
                <c:pt idx="282">
                  <c:v>41691</c:v>
                </c:pt>
                <c:pt idx="283">
                  <c:v>41694</c:v>
                </c:pt>
                <c:pt idx="284">
                  <c:v>41695</c:v>
                </c:pt>
                <c:pt idx="285">
                  <c:v>41696</c:v>
                </c:pt>
                <c:pt idx="286">
                  <c:v>41697</c:v>
                </c:pt>
                <c:pt idx="287">
                  <c:v>41698</c:v>
                </c:pt>
                <c:pt idx="288">
                  <c:v>41701</c:v>
                </c:pt>
                <c:pt idx="289">
                  <c:v>41702</c:v>
                </c:pt>
                <c:pt idx="290">
                  <c:v>41703</c:v>
                </c:pt>
                <c:pt idx="291">
                  <c:v>41704</c:v>
                </c:pt>
                <c:pt idx="292">
                  <c:v>41705</c:v>
                </c:pt>
                <c:pt idx="293">
                  <c:v>41709</c:v>
                </c:pt>
                <c:pt idx="294">
                  <c:v>41710</c:v>
                </c:pt>
                <c:pt idx="295">
                  <c:v>41711</c:v>
                </c:pt>
                <c:pt idx="296">
                  <c:v>41712</c:v>
                </c:pt>
                <c:pt idx="297">
                  <c:v>41715</c:v>
                </c:pt>
                <c:pt idx="298">
                  <c:v>41716</c:v>
                </c:pt>
                <c:pt idx="299">
                  <c:v>41717</c:v>
                </c:pt>
                <c:pt idx="300">
                  <c:v>41718</c:v>
                </c:pt>
                <c:pt idx="301">
                  <c:v>41719</c:v>
                </c:pt>
                <c:pt idx="302">
                  <c:v>41722</c:v>
                </c:pt>
                <c:pt idx="303">
                  <c:v>41723</c:v>
                </c:pt>
                <c:pt idx="304">
                  <c:v>41724</c:v>
                </c:pt>
                <c:pt idx="305">
                  <c:v>41725</c:v>
                </c:pt>
                <c:pt idx="306">
                  <c:v>41726</c:v>
                </c:pt>
                <c:pt idx="307">
                  <c:v>41729</c:v>
                </c:pt>
                <c:pt idx="308">
                  <c:v>41730</c:v>
                </c:pt>
                <c:pt idx="309">
                  <c:v>41731</c:v>
                </c:pt>
                <c:pt idx="310">
                  <c:v>41732</c:v>
                </c:pt>
                <c:pt idx="311">
                  <c:v>41733</c:v>
                </c:pt>
                <c:pt idx="312">
                  <c:v>41736</c:v>
                </c:pt>
                <c:pt idx="313">
                  <c:v>41737</c:v>
                </c:pt>
                <c:pt idx="314">
                  <c:v>41738</c:v>
                </c:pt>
                <c:pt idx="315">
                  <c:v>41739</c:v>
                </c:pt>
                <c:pt idx="316">
                  <c:v>41740</c:v>
                </c:pt>
                <c:pt idx="317">
                  <c:v>41743</c:v>
                </c:pt>
                <c:pt idx="318">
                  <c:v>41744</c:v>
                </c:pt>
                <c:pt idx="319">
                  <c:v>41745</c:v>
                </c:pt>
                <c:pt idx="320">
                  <c:v>41746</c:v>
                </c:pt>
                <c:pt idx="321">
                  <c:v>41747</c:v>
                </c:pt>
                <c:pt idx="322">
                  <c:v>41750</c:v>
                </c:pt>
                <c:pt idx="323">
                  <c:v>41751</c:v>
                </c:pt>
                <c:pt idx="324">
                  <c:v>41752</c:v>
                </c:pt>
                <c:pt idx="325">
                  <c:v>41753</c:v>
                </c:pt>
                <c:pt idx="326">
                  <c:v>41754</c:v>
                </c:pt>
                <c:pt idx="327">
                  <c:v>41757</c:v>
                </c:pt>
                <c:pt idx="328">
                  <c:v>41758</c:v>
                </c:pt>
                <c:pt idx="329">
                  <c:v>41759</c:v>
                </c:pt>
                <c:pt idx="330">
                  <c:v>41761</c:v>
                </c:pt>
                <c:pt idx="331">
                  <c:v>41764</c:v>
                </c:pt>
                <c:pt idx="332">
                  <c:v>41765</c:v>
                </c:pt>
                <c:pt idx="333">
                  <c:v>41766</c:v>
                </c:pt>
                <c:pt idx="334">
                  <c:v>41767</c:v>
                </c:pt>
                <c:pt idx="335">
                  <c:v>41771</c:v>
                </c:pt>
                <c:pt idx="336">
                  <c:v>41772</c:v>
                </c:pt>
                <c:pt idx="337">
                  <c:v>41773</c:v>
                </c:pt>
                <c:pt idx="338">
                  <c:v>41774</c:v>
                </c:pt>
                <c:pt idx="339">
                  <c:v>41775</c:v>
                </c:pt>
                <c:pt idx="340">
                  <c:v>41778</c:v>
                </c:pt>
                <c:pt idx="341">
                  <c:v>41779</c:v>
                </c:pt>
                <c:pt idx="342">
                  <c:v>41780</c:v>
                </c:pt>
                <c:pt idx="343">
                  <c:v>41781</c:v>
                </c:pt>
                <c:pt idx="344">
                  <c:v>41782</c:v>
                </c:pt>
                <c:pt idx="345">
                  <c:v>41785</c:v>
                </c:pt>
                <c:pt idx="346">
                  <c:v>41786</c:v>
                </c:pt>
                <c:pt idx="347">
                  <c:v>41787</c:v>
                </c:pt>
                <c:pt idx="348">
                  <c:v>41788</c:v>
                </c:pt>
                <c:pt idx="349">
                  <c:v>41789</c:v>
                </c:pt>
                <c:pt idx="350">
                  <c:v>41792</c:v>
                </c:pt>
                <c:pt idx="351">
                  <c:v>41793</c:v>
                </c:pt>
                <c:pt idx="352">
                  <c:v>41794</c:v>
                </c:pt>
                <c:pt idx="353">
                  <c:v>41795</c:v>
                </c:pt>
                <c:pt idx="354">
                  <c:v>41796</c:v>
                </c:pt>
                <c:pt idx="355">
                  <c:v>41799</c:v>
                </c:pt>
                <c:pt idx="356">
                  <c:v>41800</c:v>
                </c:pt>
                <c:pt idx="357">
                  <c:v>41801</c:v>
                </c:pt>
                <c:pt idx="358">
                  <c:v>41803</c:v>
                </c:pt>
                <c:pt idx="359">
                  <c:v>41806</c:v>
                </c:pt>
                <c:pt idx="360">
                  <c:v>41807</c:v>
                </c:pt>
                <c:pt idx="361">
                  <c:v>41808</c:v>
                </c:pt>
                <c:pt idx="362">
                  <c:v>41809</c:v>
                </c:pt>
                <c:pt idx="363">
                  <c:v>41810</c:v>
                </c:pt>
                <c:pt idx="364">
                  <c:v>41813</c:v>
                </c:pt>
                <c:pt idx="365">
                  <c:v>41814</c:v>
                </c:pt>
                <c:pt idx="366">
                  <c:v>41815</c:v>
                </c:pt>
                <c:pt idx="367">
                  <c:v>41816</c:v>
                </c:pt>
                <c:pt idx="368">
                  <c:v>41817</c:v>
                </c:pt>
                <c:pt idx="369">
                  <c:v>41820</c:v>
                </c:pt>
                <c:pt idx="370">
                  <c:v>41821</c:v>
                </c:pt>
                <c:pt idx="371">
                  <c:v>41822</c:v>
                </c:pt>
                <c:pt idx="372">
                  <c:v>41823</c:v>
                </c:pt>
                <c:pt idx="373">
                  <c:v>41824</c:v>
                </c:pt>
                <c:pt idx="374">
                  <c:v>41827</c:v>
                </c:pt>
                <c:pt idx="375">
                  <c:v>41828</c:v>
                </c:pt>
                <c:pt idx="376">
                  <c:v>41829</c:v>
                </c:pt>
                <c:pt idx="377">
                  <c:v>41830</c:v>
                </c:pt>
                <c:pt idx="378">
                  <c:v>41831</c:v>
                </c:pt>
                <c:pt idx="379">
                  <c:v>41834</c:v>
                </c:pt>
                <c:pt idx="380">
                  <c:v>41835</c:v>
                </c:pt>
                <c:pt idx="381">
                  <c:v>41836</c:v>
                </c:pt>
                <c:pt idx="382">
                  <c:v>41837</c:v>
                </c:pt>
                <c:pt idx="383">
                  <c:v>41838</c:v>
                </c:pt>
                <c:pt idx="384">
                  <c:v>41841</c:v>
                </c:pt>
                <c:pt idx="385">
                  <c:v>41842</c:v>
                </c:pt>
                <c:pt idx="386">
                  <c:v>41843</c:v>
                </c:pt>
                <c:pt idx="387">
                  <c:v>41844</c:v>
                </c:pt>
                <c:pt idx="388">
                  <c:v>41845</c:v>
                </c:pt>
                <c:pt idx="389">
                  <c:v>41848</c:v>
                </c:pt>
                <c:pt idx="390">
                  <c:v>41849</c:v>
                </c:pt>
                <c:pt idx="391">
                  <c:v>41850</c:v>
                </c:pt>
                <c:pt idx="392">
                  <c:v>41851</c:v>
                </c:pt>
                <c:pt idx="393">
                  <c:v>41852</c:v>
                </c:pt>
                <c:pt idx="394">
                  <c:v>41855</c:v>
                </c:pt>
                <c:pt idx="395">
                  <c:v>41856</c:v>
                </c:pt>
                <c:pt idx="396">
                  <c:v>41857</c:v>
                </c:pt>
                <c:pt idx="397">
                  <c:v>41858</c:v>
                </c:pt>
                <c:pt idx="398">
                  <c:v>41859</c:v>
                </c:pt>
                <c:pt idx="399">
                  <c:v>41862</c:v>
                </c:pt>
                <c:pt idx="400">
                  <c:v>41863</c:v>
                </c:pt>
                <c:pt idx="401">
                  <c:v>41864</c:v>
                </c:pt>
                <c:pt idx="402">
                  <c:v>41865</c:v>
                </c:pt>
                <c:pt idx="403">
                  <c:v>41866</c:v>
                </c:pt>
                <c:pt idx="404">
                  <c:v>41869</c:v>
                </c:pt>
                <c:pt idx="405">
                  <c:v>41870</c:v>
                </c:pt>
                <c:pt idx="406">
                  <c:v>41871</c:v>
                </c:pt>
                <c:pt idx="407">
                  <c:v>41872</c:v>
                </c:pt>
                <c:pt idx="408">
                  <c:v>41873</c:v>
                </c:pt>
                <c:pt idx="409">
                  <c:v>41876</c:v>
                </c:pt>
                <c:pt idx="410">
                  <c:v>41877</c:v>
                </c:pt>
                <c:pt idx="411">
                  <c:v>41878</c:v>
                </c:pt>
                <c:pt idx="412">
                  <c:v>41879</c:v>
                </c:pt>
                <c:pt idx="413">
                  <c:v>41880</c:v>
                </c:pt>
                <c:pt idx="414">
                  <c:v>41883</c:v>
                </c:pt>
                <c:pt idx="415">
                  <c:v>41884</c:v>
                </c:pt>
                <c:pt idx="416">
                  <c:v>41885</c:v>
                </c:pt>
                <c:pt idx="417">
                  <c:v>41886</c:v>
                </c:pt>
                <c:pt idx="418">
                  <c:v>41887</c:v>
                </c:pt>
                <c:pt idx="419">
                  <c:v>41890</c:v>
                </c:pt>
                <c:pt idx="420">
                  <c:v>41891</c:v>
                </c:pt>
                <c:pt idx="421">
                  <c:v>41892</c:v>
                </c:pt>
                <c:pt idx="422">
                  <c:v>41893</c:v>
                </c:pt>
                <c:pt idx="423">
                  <c:v>41894</c:v>
                </c:pt>
                <c:pt idx="424">
                  <c:v>41897</c:v>
                </c:pt>
                <c:pt idx="425">
                  <c:v>41898</c:v>
                </c:pt>
                <c:pt idx="426">
                  <c:v>41899</c:v>
                </c:pt>
                <c:pt idx="427">
                  <c:v>41900</c:v>
                </c:pt>
                <c:pt idx="428">
                  <c:v>41901</c:v>
                </c:pt>
                <c:pt idx="429">
                  <c:v>41904</c:v>
                </c:pt>
                <c:pt idx="430">
                  <c:v>41905</c:v>
                </c:pt>
                <c:pt idx="431">
                  <c:v>41906</c:v>
                </c:pt>
                <c:pt idx="432">
                  <c:v>41907</c:v>
                </c:pt>
                <c:pt idx="433">
                  <c:v>41908</c:v>
                </c:pt>
                <c:pt idx="434">
                  <c:v>41911</c:v>
                </c:pt>
                <c:pt idx="435">
                  <c:v>41912</c:v>
                </c:pt>
                <c:pt idx="436">
                  <c:v>41913</c:v>
                </c:pt>
                <c:pt idx="437">
                  <c:v>41914</c:v>
                </c:pt>
                <c:pt idx="438">
                  <c:v>41915</c:v>
                </c:pt>
                <c:pt idx="439">
                  <c:v>41918</c:v>
                </c:pt>
                <c:pt idx="440">
                  <c:v>41919</c:v>
                </c:pt>
                <c:pt idx="441">
                  <c:v>41920</c:v>
                </c:pt>
                <c:pt idx="442">
                  <c:v>41921</c:v>
                </c:pt>
                <c:pt idx="443">
                  <c:v>41922</c:v>
                </c:pt>
                <c:pt idx="444">
                  <c:v>41925</c:v>
                </c:pt>
                <c:pt idx="445">
                  <c:v>41926</c:v>
                </c:pt>
                <c:pt idx="446">
                  <c:v>41927</c:v>
                </c:pt>
                <c:pt idx="447">
                  <c:v>41928</c:v>
                </c:pt>
                <c:pt idx="448">
                  <c:v>41929</c:v>
                </c:pt>
                <c:pt idx="449">
                  <c:v>41932</c:v>
                </c:pt>
                <c:pt idx="450">
                  <c:v>41933</c:v>
                </c:pt>
                <c:pt idx="451">
                  <c:v>41934</c:v>
                </c:pt>
                <c:pt idx="452">
                  <c:v>41935</c:v>
                </c:pt>
                <c:pt idx="453">
                  <c:v>41936</c:v>
                </c:pt>
                <c:pt idx="454">
                  <c:v>41939</c:v>
                </c:pt>
                <c:pt idx="455">
                  <c:v>41940</c:v>
                </c:pt>
                <c:pt idx="456">
                  <c:v>41941</c:v>
                </c:pt>
                <c:pt idx="457">
                  <c:v>41942</c:v>
                </c:pt>
                <c:pt idx="458">
                  <c:v>41943</c:v>
                </c:pt>
                <c:pt idx="459">
                  <c:v>41946</c:v>
                </c:pt>
                <c:pt idx="460">
                  <c:v>41948</c:v>
                </c:pt>
                <c:pt idx="461">
                  <c:v>41949</c:v>
                </c:pt>
                <c:pt idx="462">
                  <c:v>41950</c:v>
                </c:pt>
                <c:pt idx="463">
                  <c:v>41953</c:v>
                </c:pt>
                <c:pt idx="464">
                  <c:v>41954</c:v>
                </c:pt>
                <c:pt idx="465">
                  <c:v>41955</c:v>
                </c:pt>
                <c:pt idx="466">
                  <c:v>41956</c:v>
                </c:pt>
                <c:pt idx="467">
                  <c:v>41957</c:v>
                </c:pt>
                <c:pt idx="468">
                  <c:v>41960</c:v>
                </c:pt>
                <c:pt idx="469">
                  <c:v>41961</c:v>
                </c:pt>
                <c:pt idx="470">
                  <c:v>41962</c:v>
                </c:pt>
                <c:pt idx="471">
                  <c:v>41963</c:v>
                </c:pt>
                <c:pt idx="472">
                  <c:v>41964</c:v>
                </c:pt>
                <c:pt idx="473">
                  <c:v>41967</c:v>
                </c:pt>
                <c:pt idx="474">
                  <c:v>41968</c:v>
                </c:pt>
                <c:pt idx="475">
                  <c:v>41969</c:v>
                </c:pt>
                <c:pt idx="476">
                  <c:v>41970</c:v>
                </c:pt>
                <c:pt idx="477">
                  <c:v>41971</c:v>
                </c:pt>
                <c:pt idx="478">
                  <c:v>41974</c:v>
                </c:pt>
                <c:pt idx="479">
                  <c:v>41975</c:v>
                </c:pt>
                <c:pt idx="480">
                  <c:v>41976</c:v>
                </c:pt>
                <c:pt idx="481">
                  <c:v>41977</c:v>
                </c:pt>
                <c:pt idx="482">
                  <c:v>41978</c:v>
                </c:pt>
                <c:pt idx="483">
                  <c:v>41981</c:v>
                </c:pt>
                <c:pt idx="484">
                  <c:v>41982</c:v>
                </c:pt>
                <c:pt idx="485">
                  <c:v>41983</c:v>
                </c:pt>
                <c:pt idx="486">
                  <c:v>41984</c:v>
                </c:pt>
                <c:pt idx="487">
                  <c:v>41985</c:v>
                </c:pt>
                <c:pt idx="488">
                  <c:v>41988</c:v>
                </c:pt>
                <c:pt idx="489">
                  <c:v>41989</c:v>
                </c:pt>
                <c:pt idx="490">
                  <c:v>41990</c:v>
                </c:pt>
                <c:pt idx="491">
                  <c:v>41991</c:v>
                </c:pt>
                <c:pt idx="492">
                  <c:v>41992</c:v>
                </c:pt>
                <c:pt idx="493">
                  <c:v>41995</c:v>
                </c:pt>
                <c:pt idx="494">
                  <c:v>41996</c:v>
                </c:pt>
                <c:pt idx="495">
                  <c:v>41997</c:v>
                </c:pt>
                <c:pt idx="496">
                  <c:v>41998</c:v>
                </c:pt>
                <c:pt idx="497">
                  <c:v>41999</c:v>
                </c:pt>
                <c:pt idx="498">
                  <c:v>42002</c:v>
                </c:pt>
                <c:pt idx="499">
                  <c:v>42003</c:v>
                </c:pt>
                <c:pt idx="500">
                  <c:v>42009</c:v>
                </c:pt>
                <c:pt idx="501">
                  <c:v>42010</c:v>
                </c:pt>
                <c:pt idx="502">
                  <c:v>42012</c:v>
                </c:pt>
                <c:pt idx="503">
                  <c:v>42013</c:v>
                </c:pt>
                <c:pt idx="504">
                  <c:v>42016</c:v>
                </c:pt>
                <c:pt idx="505">
                  <c:v>42017</c:v>
                </c:pt>
                <c:pt idx="506">
                  <c:v>42018</c:v>
                </c:pt>
                <c:pt idx="507">
                  <c:v>42019</c:v>
                </c:pt>
                <c:pt idx="508">
                  <c:v>42020</c:v>
                </c:pt>
                <c:pt idx="509">
                  <c:v>42023</c:v>
                </c:pt>
                <c:pt idx="510">
                  <c:v>42024</c:v>
                </c:pt>
                <c:pt idx="511">
                  <c:v>42025</c:v>
                </c:pt>
                <c:pt idx="512">
                  <c:v>42026</c:v>
                </c:pt>
                <c:pt idx="513">
                  <c:v>42027</c:v>
                </c:pt>
                <c:pt idx="514">
                  <c:v>42030</c:v>
                </c:pt>
                <c:pt idx="515">
                  <c:v>42031</c:v>
                </c:pt>
                <c:pt idx="516">
                  <c:v>42032</c:v>
                </c:pt>
                <c:pt idx="517">
                  <c:v>42033</c:v>
                </c:pt>
                <c:pt idx="518">
                  <c:v>42034</c:v>
                </c:pt>
                <c:pt idx="519">
                  <c:v>42037</c:v>
                </c:pt>
                <c:pt idx="520">
                  <c:v>42038</c:v>
                </c:pt>
                <c:pt idx="521">
                  <c:v>42039</c:v>
                </c:pt>
                <c:pt idx="522">
                  <c:v>42040</c:v>
                </c:pt>
                <c:pt idx="523">
                  <c:v>42041</c:v>
                </c:pt>
                <c:pt idx="524">
                  <c:v>42044</c:v>
                </c:pt>
                <c:pt idx="525">
                  <c:v>42045</c:v>
                </c:pt>
                <c:pt idx="526">
                  <c:v>42046</c:v>
                </c:pt>
                <c:pt idx="527">
                  <c:v>42047</c:v>
                </c:pt>
                <c:pt idx="528">
                  <c:v>42048</c:v>
                </c:pt>
                <c:pt idx="529">
                  <c:v>42051</c:v>
                </c:pt>
                <c:pt idx="530">
                  <c:v>42052</c:v>
                </c:pt>
                <c:pt idx="531">
                  <c:v>42053</c:v>
                </c:pt>
                <c:pt idx="532">
                  <c:v>42054</c:v>
                </c:pt>
                <c:pt idx="533">
                  <c:v>42055</c:v>
                </c:pt>
                <c:pt idx="534">
                  <c:v>42059</c:v>
                </c:pt>
                <c:pt idx="535">
                  <c:v>42060</c:v>
                </c:pt>
                <c:pt idx="536">
                  <c:v>42061</c:v>
                </c:pt>
                <c:pt idx="537">
                  <c:v>42062</c:v>
                </c:pt>
                <c:pt idx="538">
                  <c:v>42065</c:v>
                </c:pt>
                <c:pt idx="539">
                  <c:v>42066</c:v>
                </c:pt>
                <c:pt idx="540">
                  <c:v>42067</c:v>
                </c:pt>
                <c:pt idx="541">
                  <c:v>42068</c:v>
                </c:pt>
                <c:pt idx="542">
                  <c:v>42069</c:v>
                </c:pt>
                <c:pt idx="543">
                  <c:v>42073</c:v>
                </c:pt>
                <c:pt idx="544">
                  <c:v>42074</c:v>
                </c:pt>
                <c:pt idx="545">
                  <c:v>42075</c:v>
                </c:pt>
                <c:pt idx="546">
                  <c:v>42076</c:v>
                </c:pt>
                <c:pt idx="547">
                  <c:v>42079</c:v>
                </c:pt>
                <c:pt idx="548">
                  <c:v>42080</c:v>
                </c:pt>
                <c:pt idx="549">
                  <c:v>42081</c:v>
                </c:pt>
                <c:pt idx="550">
                  <c:v>42082</c:v>
                </c:pt>
                <c:pt idx="551">
                  <c:v>42083</c:v>
                </c:pt>
                <c:pt idx="552">
                  <c:v>42086</c:v>
                </c:pt>
                <c:pt idx="553">
                  <c:v>42087</c:v>
                </c:pt>
                <c:pt idx="554">
                  <c:v>42088</c:v>
                </c:pt>
                <c:pt idx="555">
                  <c:v>42089</c:v>
                </c:pt>
                <c:pt idx="556">
                  <c:v>42090</c:v>
                </c:pt>
                <c:pt idx="557">
                  <c:v>42093</c:v>
                </c:pt>
                <c:pt idx="558">
                  <c:v>42094</c:v>
                </c:pt>
                <c:pt idx="559">
                  <c:v>42095</c:v>
                </c:pt>
                <c:pt idx="560">
                  <c:v>42096</c:v>
                </c:pt>
                <c:pt idx="561">
                  <c:v>42097</c:v>
                </c:pt>
                <c:pt idx="562">
                  <c:v>42100</c:v>
                </c:pt>
                <c:pt idx="563">
                  <c:v>42101</c:v>
                </c:pt>
                <c:pt idx="564">
                  <c:v>42102</c:v>
                </c:pt>
                <c:pt idx="565">
                  <c:v>42103</c:v>
                </c:pt>
                <c:pt idx="566">
                  <c:v>42104</c:v>
                </c:pt>
                <c:pt idx="567">
                  <c:v>42107</c:v>
                </c:pt>
                <c:pt idx="568">
                  <c:v>42108</c:v>
                </c:pt>
                <c:pt idx="569">
                  <c:v>42109</c:v>
                </c:pt>
                <c:pt idx="570">
                  <c:v>42110</c:v>
                </c:pt>
                <c:pt idx="571">
                  <c:v>42111</c:v>
                </c:pt>
                <c:pt idx="572">
                  <c:v>42114</c:v>
                </c:pt>
                <c:pt idx="573">
                  <c:v>42115</c:v>
                </c:pt>
                <c:pt idx="574">
                  <c:v>42116</c:v>
                </c:pt>
                <c:pt idx="575">
                  <c:v>42117</c:v>
                </c:pt>
                <c:pt idx="576">
                  <c:v>42118</c:v>
                </c:pt>
                <c:pt idx="577">
                  <c:v>42121</c:v>
                </c:pt>
                <c:pt idx="578">
                  <c:v>42122</c:v>
                </c:pt>
                <c:pt idx="579">
                  <c:v>42123</c:v>
                </c:pt>
                <c:pt idx="580">
                  <c:v>42124</c:v>
                </c:pt>
                <c:pt idx="581">
                  <c:v>42129</c:v>
                </c:pt>
                <c:pt idx="582">
                  <c:v>42130</c:v>
                </c:pt>
                <c:pt idx="583">
                  <c:v>42131</c:v>
                </c:pt>
                <c:pt idx="584">
                  <c:v>42132</c:v>
                </c:pt>
                <c:pt idx="585">
                  <c:v>42136</c:v>
                </c:pt>
                <c:pt idx="586">
                  <c:v>42137</c:v>
                </c:pt>
                <c:pt idx="587">
                  <c:v>42138</c:v>
                </c:pt>
                <c:pt idx="588">
                  <c:v>42139</c:v>
                </c:pt>
                <c:pt idx="589">
                  <c:v>42142</c:v>
                </c:pt>
                <c:pt idx="590">
                  <c:v>42143</c:v>
                </c:pt>
                <c:pt idx="591">
                  <c:v>42144</c:v>
                </c:pt>
                <c:pt idx="592">
                  <c:v>42145</c:v>
                </c:pt>
                <c:pt idx="593">
                  <c:v>42146</c:v>
                </c:pt>
                <c:pt idx="594">
                  <c:v>42149</c:v>
                </c:pt>
                <c:pt idx="595">
                  <c:v>42150</c:v>
                </c:pt>
                <c:pt idx="596">
                  <c:v>42151</c:v>
                </c:pt>
                <c:pt idx="597">
                  <c:v>42152</c:v>
                </c:pt>
                <c:pt idx="598">
                  <c:v>42153</c:v>
                </c:pt>
                <c:pt idx="599">
                  <c:v>42156</c:v>
                </c:pt>
                <c:pt idx="600">
                  <c:v>42157</c:v>
                </c:pt>
                <c:pt idx="601">
                  <c:v>42158</c:v>
                </c:pt>
                <c:pt idx="602">
                  <c:v>42159</c:v>
                </c:pt>
                <c:pt idx="603">
                  <c:v>42160</c:v>
                </c:pt>
                <c:pt idx="604">
                  <c:v>42163</c:v>
                </c:pt>
                <c:pt idx="605">
                  <c:v>42164</c:v>
                </c:pt>
                <c:pt idx="606">
                  <c:v>42165</c:v>
                </c:pt>
                <c:pt idx="607">
                  <c:v>42166</c:v>
                </c:pt>
                <c:pt idx="608">
                  <c:v>42170</c:v>
                </c:pt>
                <c:pt idx="609">
                  <c:v>42171</c:v>
                </c:pt>
                <c:pt idx="610">
                  <c:v>42172</c:v>
                </c:pt>
                <c:pt idx="611">
                  <c:v>42173</c:v>
                </c:pt>
                <c:pt idx="612">
                  <c:v>42174</c:v>
                </c:pt>
                <c:pt idx="613">
                  <c:v>42177</c:v>
                </c:pt>
                <c:pt idx="614">
                  <c:v>42178</c:v>
                </c:pt>
                <c:pt idx="615">
                  <c:v>42179</c:v>
                </c:pt>
                <c:pt idx="616">
                  <c:v>42180</c:v>
                </c:pt>
                <c:pt idx="617">
                  <c:v>42181</c:v>
                </c:pt>
                <c:pt idx="618">
                  <c:v>42184</c:v>
                </c:pt>
                <c:pt idx="619">
                  <c:v>42185</c:v>
                </c:pt>
                <c:pt idx="620">
                  <c:v>42186</c:v>
                </c:pt>
                <c:pt idx="621">
                  <c:v>42187</c:v>
                </c:pt>
                <c:pt idx="622">
                  <c:v>42188</c:v>
                </c:pt>
                <c:pt idx="623">
                  <c:v>42191</c:v>
                </c:pt>
                <c:pt idx="624">
                  <c:v>42192</c:v>
                </c:pt>
                <c:pt idx="625">
                  <c:v>42193</c:v>
                </c:pt>
                <c:pt idx="626">
                  <c:v>42194</c:v>
                </c:pt>
                <c:pt idx="627">
                  <c:v>42195</c:v>
                </c:pt>
                <c:pt idx="628">
                  <c:v>42198</c:v>
                </c:pt>
                <c:pt idx="629">
                  <c:v>42199</c:v>
                </c:pt>
                <c:pt idx="630">
                  <c:v>42200</c:v>
                </c:pt>
                <c:pt idx="631">
                  <c:v>42201</c:v>
                </c:pt>
                <c:pt idx="632">
                  <c:v>42202</c:v>
                </c:pt>
                <c:pt idx="633">
                  <c:v>42205</c:v>
                </c:pt>
                <c:pt idx="634">
                  <c:v>42206</c:v>
                </c:pt>
                <c:pt idx="635">
                  <c:v>42207</c:v>
                </c:pt>
                <c:pt idx="636">
                  <c:v>42208</c:v>
                </c:pt>
                <c:pt idx="637">
                  <c:v>42209</c:v>
                </c:pt>
                <c:pt idx="638">
                  <c:v>42212</c:v>
                </c:pt>
                <c:pt idx="639">
                  <c:v>42213</c:v>
                </c:pt>
                <c:pt idx="640">
                  <c:v>42214</c:v>
                </c:pt>
                <c:pt idx="641">
                  <c:v>42215</c:v>
                </c:pt>
                <c:pt idx="642">
                  <c:v>42216</c:v>
                </c:pt>
                <c:pt idx="643">
                  <c:v>42219</c:v>
                </c:pt>
                <c:pt idx="644">
                  <c:v>42220</c:v>
                </c:pt>
                <c:pt idx="645">
                  <c:v>42221</c:v>
                </c:pt>
                <c:pt idx="646">
                  <c:v>42222</c:v>
                </c:pt>
                <c:pt idx="647">
                  <c:v>42223</c:v>
                </c:pt>
                <c:pt idx="648">
                  <c:v>42226</c:v>
                </c:pt>
                <c:pt idx="649">
                  <c:v>42227</c:v>
                </c:pt>
                <c:pt idx="650">
                  <c:v>42228</c:v>
                </c:pt>
                <c:pt idx="651">
                  <c:v>42229</c:v>
                </c:pt>
                <c:pt idx="652">
                  <c:v>42230</c:v>
                </c:pt>
                <c:pt idx="653">
                  <c:v>42233</c:v>
                </c:pt>
                <c:pt idx="654">
                  <c:v>42234</c:v>
                </c:pt>
                <c:pt idx="655">
                  <c:v>42235</c:v>
                </c:pt>
                <c:pt idx="656">
                  <c:v>42236</c:v>
                </c:pt>
                <c:pt idx="657">
                  <c:v>42237</c:v>
                </c:pt>
                <c:pt idx="658">
                  <c:v>42240</c:v>
                </c:pt>
                <c:pt idx="659">
                  <c:v>42241</c:v>
                </c:pt>
                <c:pt idx="660">
                  <c:v>42242</c:v>
                </c:pt>
                <c:pt idx="661">
                  <c:v>42243</c:v>
                </c:pt>
                <c:pt idx="662">
                  <c:v>42244</c:v>
                </c:pt>
                <c:pt idx="663">
                  <c:v>42247</c:v>
                </c:pt>
                <c:pt idx="664">
                  <c:v>42248</c:v>
                </c:pt>
                <c:pt idx="665">
                  <c:v>42249</c:v>
                </c:pt>
                <c:pt idx="666">
                  <c:v>42250</c:v>
                </c:pt>
                <c:pt idx="667">
                  <c:v>42251</c:v>
                </c:pt>
                <c:pt idx="668">
                  <c:v>42254</c:v>
                </c:pt>
                <c:pt idx="669">
                  <c:v>42255</c:v>
                </c:pt>
                <c:pt idx="670">
                  <c:v>42256</c:v>
                </c:pt>
                <c:pt idx="671">
                  <c:v>42257</c:v>
                </c:pt>
                <c:pt idx="672">
                  <c:v>42258</c:v>
                </c:pt>
                <c:pt idx="673">
                  <c:v>42261</c:v>
                </c:pt>
                <c:pt idx="674">
                  <c:v>42262</c:v>
                </c:pt>
                <c:pt idx="675">
                  <c:v>42263</c:v>
                </c:pt>
                <c:pt idx="676">
                  <c:v>42264</c:v>
                </c:pt>
                <c:pt idx="677">
                  <c:v>42265</c:v>
                </c:pt>
                <c:pt idx="678">
                  <c:v>42268</c:v>
                </c:pt>
                <c:pt idx="679">
                  <c:v>42269</c:v>
                </c:pt>
                <c:pt idx="680">
                  <c:v>42270</c:v>
                </c:pt>
                <c:pt idx="681">
                  <c:v>42271</c:v>
                </c:pt>
                <c:pt idx="682">
                  <c:v>42272</c:v>
                </c:pt>
                <c:pt idx="683">
                  <c:v>42275</c:v>
                </c:pt>
                <c:pt idx="684">
                  <c:v>42276</c:v>
                </c:pt>
                <c:pt idx="685">
                  <c:v>42277</c:v>
                </c:pt>
                <c:pt idx="686">
                  <c:v>42278</c:v>
                </c:pt>
                <c:pt idx="687">
                  <c:v>42279</c:v>
                </c:pt>
                <c:pt idx="688">
                  <c:v>42282</c:v>
                </c:pt>
                <c:pt idx="689">
                  <c:v>42283</c:v>
                </c:pt>
                <c:pt idx="690">
                  <c:v>42284</c:v>
                </c:pt>
                <c:pt idx="691">
                  <c:v>42285</c:v>
                </c:pt>
                <c:pt idx="692">
                  <c:v>42286</c:v>
                </c:pt>
                <c:pt idx="693">
                  <c:v>42289</c:v>
                </c:pt>
                <c:pt idx="694">
                  <c:v>42290</c:v>
                </c:pt>
                <c:pt idx="695">
                  <c:v>42291</c:v>
                </c:pt>
                <c:pt idx="696">
                  <c:v>42292</c:v>
                </c:pt>
                <c:pt idx="697">
                  <c:v>42293</c:v>
                </c:pt>
                <c:pt idx="698">
                  <c:v>42296</c:v>
                </c:pt>
                <c:pt idx="699">
                  <c:v>42297</c:v>
                </c:pt>
                <c:pt idx="700">
                  <c:v>42298</c:v>
                </c:pt>
                <c:pt idx="701">
                  <c:v>42299</c:v>
                </c:pt>
                <c:pt idx="702">
                  <c:v>42300</c:v>
                </c:pt>
                <c:pt idx="703">
                  <c:v>42303</c:v>
                </c:pt>
                <c:pt idx="704">
                  <c:v>42304</c:v>
                </c:pt>
                <c:pt idx="705">
                  <c:v>42305</c:v>
                </c:pt>
                <c:pt idx="706">
                  <c:v>42306</c:v>
                </c:pt>
                <c:pt idx="707">
                  <c:v>42307</c:v>
                </c:pt>
                <c:pt idx="708">
                  <c:v>42310</c:v>
                </c:pt>
                <c:pt idx="709">
                  <c:v>42311</c:v>
                </c:pt>
                <c:pt idx="710">
                  <c:v>42313</c:v>
                </c:pt>
                <c:pt idx="711">
                  <c:v>42314</c:v>
                </c:pt>
                <c:pt idx="712">
                  <c:v>42317</c:v>
                </c:pt>
                <c:pt idx="713">
                  <c:v>42318</c:v>
                </c:pt>
                <c:pt idx="714">
                  <c:v>42319</c:v>
                </c:pt>
                <c:pt idx="715">
                  <c:v>42320</c:v>
                </c:pt>
                <c:pt idx="716">
                  <c:v>42321</c:v>
                </c:pt>
                <c:pt idx="717">
                  <c:v>42324</c:v>
                </c:pt>
                <c:pt idx="718">
                  <c:v>42325</c:v>
                </c:pt>
                <c:pt idx="719">
                  <c:v>42326</c:v>
                </c:pt>
                <c:pt idx="720">
                  <c:v>42327</c:v>
                </c:pt>
                <c:pt idx="721">
                  <c:v>42328</c:v>
                </c:pt>
                <c:pt idx="722">
                  <c:v>42331</c:v>
                </c:pt>
                <c:pt idx="723">
                  <c:v>42332</c:v>
                </c:pt>
                <c:pt idx="724">
                  <c:v>42333</c:v>
                </c:pt>
                <c:pt idx="725">
                  <c:v>42334</c:v>
                </c:pt>
                <c:pt idx="726">
                  <c:v>42335</c:v>
                </c:pt>
                <c:pt idx="727">
                  <c:v>42338</c:v>
                </c:pt>
                <c:pt idx="728">
                  <c:v>42339</c:v>
                </c:pt>
                <c:pt idx="729">
                  <c:v>42340</c:v>
                </c:pt>
                <c:pt idx="730">
                  <c:v>42341</c:v>
                </c:pt>
                <c:pt idx="731">
                  <c:v>42342</c:v>
                </c:pt>
                <c:pt idx="732">
                  <c:v>42345</c:v>
                </c:pt>
                <c:pt idx="733">
                  <c:v>42346</c:v>
                </c:pt>
                <c:pt idx="734">
                  <c:v>42347</c:v>
                </c:pt>
                <c:pt idx="735">
                  <c:v>42348</c:v>
                </c:pt>
                <c:pt idx="736">
                  <c:v>42349</c:v>
                </c:pt>
                <c:pt idx="737">
                  <c:v>42352</c:v>
                </c:pt>
                <c:pt idx="738">
                  <c:v>42353</c:v>
                </c:pt>
                <c:pt idx="739">
                  <c:v>42354</c:v>
                </c:pt>
                <c:pt idx="740">
                  <c:v>42355</c:v>
                </c:pt>
                <c:pt idx="741">
                  <c:v>42356</c:v>
                </c:pt>
                <c:pt idx="742">
                  <c:v>42359</c:v>
                </c:pt>
                <c:pt idx="743">
                  <c:v>42360</c:v>
                </c:pt>
                <c:pt idx="744">
                  <c:v>42361</c:v>
                </c:pt>
                <c:pt idx="745">
                  <c:v>42362</c:v>
                </c:pt>
                <c:pt idx="746">
                  <c:v>42363</c:v>
                </c:pt>
                <c:pt idx="747">
                  <c:v>42366</c:v>
                </c:pt>
                <c:pt idx="748">
                  <c:v>42367</c:v>
                </c:pt>
                <c:pt idx="749">
                  <c:v>42368</c:v>
                </c:pt>
                <c:pt idx="750">
                  <c:v>42373</c:v>
                </c:pt>
                <c:pt idx="751">
                  <c:v>42374</c:v>
                </c:pt>
                <c:pt idx="752">
                  <c:v>42375</c:v>
                </c:pt>
                <c:pt idx="753">
                  <c:v>42380</c:v>
                </c:pt>
                <c:pt idx="754">
                  <c:v>42381</c:v>
                </c:pt>
                <c:pt idx="755">
                  <c:v>42382</c:v>
                </c:pt>
                <c:pt idx="756">
                  <c:v>42383</c:v>
                </c:pt>
                <c:pt idx="757">
                  <c:v>42384</c:v>
                </c:pt>
                <c:pt idx="758">
                  <c:v>42387</c:v>
                </c:pt>
                <c:pt idx="759">
                  <c:v>42388</c:v>
                </c:pt>
                <c:pt idx="760">
                  <c:v>42389</c:v>
                </c:pt>
                <c:pt idx="761">
                  <c:v>42390</c:v>
                </c:pt>
                <c:pt idx="762">
                  <c:v>42391</c:v>
                </c:pt>
                <c:pt idx="763">
                  <c:v>42394</c:v>
                </c:pt>
                <c:pt idx="764">
                  <c:v>42395</c:v>
                </c:pt>
                <c:pt idx="765">
                  <c:v>42396</c:v>
                </c:pt>
                <c:pt idx="766">
                  <c:v>42397</c:v>
                </c:pt>
                <c:pt idx="767">
                  <c:v>42398</c:v>
                </c:pt>
                <c:pt idx="768">
                  <c:v>42401</c:v>
                </c:pt>
                <c:pt idx="769">
                  <c:v>42402</c:v>
                </c:pt>
                <c:pt idx="770">
                  <c:v>42403</c:v>
                </c:pt>
                <c:pt idx="771">
                  <c:v>42404</c:v>
                </c:pt>
                <c:pt idx="772">
                  <c:v>42405</c:v>
                </c:pt>
                <c:pt idx="773">
                  <c:v>42408</c:v>
                </c:pt>
                <c:pt idx="774">
                  <c:v>42409</c:v>
                </c:pt>
                <c:pt idx="775">
                  <c:v>42410</c:v>
                </c:pt>
                <c:pt idx="776">
                  <c:v>42411</c:v>
                </c:pt>
                <c:pt idx="777">
                  <c:v>42412</c:v>
                </c:pt>
                <c:pt idx="778">
                  <c:v>42415</c:v>
                </c:pt>
                <c:pt idx="779">
                  <c:v>42416</c:v>
                </c:pt>
                <c:pt idx="780">
                  <c:v>42417</c:v>
                </c:pt>
                <c:pt idx="781">
                  <c:v>42418</c:v>
                </c:pt>
                <c:pt idx="782">
                  <c:v>42419</c:v>
                </c:pt>
                <c:pt idx="783">
                  <c:v>42420</c:v>
                </c:pt>
                <c:pt idx="784">
                  <c:v>42422</c:v>
                </c:pt>
                <c:pt idx="785">
                  <c:v>42424</c:v>
                </c:pt>
                <c:pt idx="786">
                  <c:v>42425</c:v>
                </c:pt>
                <c:pt idx="787">
                  <c:v>42426</c:v>
                </c:pt>
                <c:pt idx="788">
                  <c:v>42429</c:v>
                </c:pt>
                <c:pt idx="789">
                  <c:v>42430</c:v>
                </c:pt>
                <c:pt idx="790">
                  <c:v>42431</c:v>
                </c:pt>
                <c:pt idx="791">
                  <c:v>42432</c:v>
                </c:pt>
                <c:pt idx="792">
                  <c:v>42433</c:v>
                </c:pt>
                <c:pt idx="793">
                  <c:v>42436</c:v>
                </c:pt>
                <c:pt idx="794">
                  <c:v>42438</c:v>
                </c:pt>
                <c:pt idx="795">
                  <c:v>42439</c:v>
                </c:pt>
                <c:pt idx="796">
                  <c:v>42440</c:v>
                </c:pt>
                <c:pt idx="797">
                  <c:v>42443</c:v>
                </c:pt>
                <c:pt idx="798">
                  <c:v>42444</c:v>
                </c:pt>
                <c:pt idx="799">
                  <c:v>42445</c:v>
                </c:pt>
                <c:pt idx="800">
                  <c:v>42446</c:v>
                </c:pt>
                <c:pt idx="801">
                  <c:v>42447</c:v>
                </c:pt>
                <c:pt idx="802">
                  <c:v>42450</c:v>
                </c:pt>
                <c:pt idx="803">
                  <c:v>42451</c:v>
                </c:pt>
                <c:pt idx="804">
                  <c:v>42452</c:v>
                </c:pt>
                <c:pt idx="805">
                  <c:v>42453</c:v>
                </c:pt>
                <c:pt idx="806">
                  <c:v>42454</c:v>
                </c:pt>
                <c:pt idx="807">
                  <c:v>42457</c:v>
                </c:pt>
                <c:pt idx="808">
                  <c:v>42458</c:v>
                </c:pt>
                <c:pt idx="809">
                  <c:v>42459</c:v>
                </c:pt>
                <c:pt idx="810">
                  <c:v>42460</c:v>
                </c:pt>
                <c:pt idx="811">
                  <c:v>42461</c:v>
                </c:pt>
                <c:pt idx="812">
                  <c:v>42464</c:v>
                </c:pt>
                <c:pt idx="813">
                  <c:v>42465</c:v>
                </c:pt>
                <c:pt idx="814">
                  <c:v>42466</c:v>
                </c:pt>
                <c:pt idx="815">
                  <c:v>42467</c:v>
                </c:pt>
                <c:pt idx="816">
                  <c:v>42468</c:v>
                </c:pt>
                <c:pt idx="817">
                  <c:v>42471</c:v>
                </c:pt>
                <c:pt idx="818">
                  <c:v>42472</c:v>
                </c:pt>
                <c:pt idx="819">
                  <c:v>42473</c:v>
                </c:pt>
                <c:pt idx="820">
                  <c:v>42474</c:v>
                </c:pt>
                <c:pt idx="821">
                  <c:v>42475</c:v>
                </c:pt>
                <c:pt idx="822">
                  <c:v>42478</c:v>
                </c:pt>
                <c:pt idx="823">
                  <c:v>42479</c:v>
                </c:pt>
                <c:pt idx="824">
                  <c:v>42480</c:v>
                </c:pt>
                <c:pt idx="825">
                  <c:v>42481</c:v>
                </c:pt>
                <c:pt idx="826">
                  <c:v>42482</c:v>
                </c:pt>
                <c:pt idx="827">
                  <c:v>42485</c:v>
                </c:pt>
                <c:pt idx="828">
                  <c:v>42486</c:v>
                </c:pt>
                <c:pt idx="829">
                  <c:v>42487</c:v>
                </c:pt>
                <c:pt idx="830">
                  <c:v>42488</c:v>
                </c:pt>
                <c:pt idx="831">
                  <c:v>42489</c:v>
                </c:pt>
                <c:pt idx="832">
                  <c:v>42494</c:v>
                </c:pt>
                <c:pt idx="833">
                  <c:v>42495</c:v>
                </c:pt>
                <c:pt idx="834">
                  <c:v>42496</c:v>
                </c:pt>
                <c:pt idx="835">
                  <c:v>42500</c:v>
                </c:pt>
                <c:pt idx="836">
                  <c:v>42501</c:v>
                </c:pt>
                <c:pt idx="837">
                  <c:v>42502</c:v>
                </c:pt>
                <c:pt idx="838">
                  <c:v>42503</c:v>
                </c:pt>
                <c:pt idx="839">
                  <c:v>42506</c:v>
                </c:pt>
                <c:pt idx="840">
                  <c:v>42507</c:v>
                </c:pt>
                <c:pt idx="841">
                  <c:v>42508</c:v>
                </c:pt>
                <c:pt idx="842">
                  <c:v>42509</c:v>
                </c:pt>
                <c:pt idx="843">
                  <c:v>42510</c:v>
                </c:pt>
                <c:pt idx="844">
                  <c:v>42513</c:v>
                </c:pt>
                <c:pt idx="845">
                  <c:v>42514</c:v>
                </c:pt>
                <c:pt idx="846">
                  <c:v>42515</c:v>
                </c:pt>
                <c:pt idx="847">
                  <c:v>42516</c:v>
                </c:pt>
                <c:pt idx="848">
                  <c:v>42517</c:v>
                </c:pt>
                <c:pt idx="849">
                  <c:v>42520</c:v>
                </c:pt>
                <c:pt idx="850">
                  <c:v>42521</c:v>
                </c:pt>
                <c:pt idx="851">
                  <c:v>42522</c:v>
                </c:pt>
                <c:pt idx="852">
                  <c:v>42523</c:v>
                </c:pt>
                <c:pt idx="853">
                  <c:v>42524</c:v>
                </c:pt>
                <c:pt idx="854">
                  <c:v>42527</c:v>
                </c:pt>
                <c:pt idx="855">
                  <c:v>42528</c:v>
                </c:pt>
                <c:pt idx="856">
                  <c:v>42529</c:v>
                </c:pt>
                <c:pt idx="857">
                  <c:v>42530</c:v>
                </c:pt>
                <c:pt idx="858">
                  <c:v>42531</c:v>
                </c:pt>
                <c:pt idx="859">
                  <c:v>42535</c:v>
                </c:pt>
                <c:pt idx="860">
                  <c:v>42536</c:v>
                </c:pt>
                <c:pt idx="861">
                  <c:v>42537</c:v>
                </c:pt>
                <c:pt idx="862">
                  <c:v>42538</c:v>
                </c:pt>
                <c:pt idx="863">
                  <c:v>42541</c:v>
                </c:pt>
                <c:pt idx="864">
                  <c:v>42542</c:v>
                </c:pt>
                <c:pt idx="865">
                  <c:v>42543</c:v>
                </c:pt>
                <c:pt idx="866">
                  <c:v>42544</c:v>
                </c:pt>
                <c:pt idx="867">
                  <c:v>42545</c:v>
                </c:pt>
                <c:pt idx="868">
                  <c:v>42548</c:v>
                </c:pt>
                <c:pt idx="869">
                  <c:v>42549</c:v>
                </c:pt>
                <c:pt idx="870">
                  <c:v>42550</c:v>
                </c:pt>
                <c:pt idx="871">
                  <c:v>42551</c:v>
                </c:pt>
                <c:pt idx="872">
                  <c:v>42552</c:v>
                </c:pt>
                <c:pt idx="873">
                  <c:v>42555</c:v>
                </c:pt>
                <c:pt idx="874">
                  <c:v>42556</c:v>
                </c:pt>
                <c:pt idx="875">
                  <c:v>42557</c:v>
                </c:pt>
                <c:pt idx="876">
                  <c:v>42558</c:v>
                </c:pt>
                <c:pt idx="877">
                  <c:v>42559</c:v>
                </c:pt>
                <c:pt idx="878">
                  <c:v>42562</c:v>
                </c:pt>
                <c:pt idx="879">
                  <c:v>42563</c:v>
                </c:pt>
                <c:pt idx="880">
                  <c:v>42564</c:v>
                </c:pt>
                <c:pt idx="881">
                  <c:v>42565</c:v>
                </c:pt>
                <c:pt idx="882">
                  <c:v>42566</c:v>
                </c:pt>
                <c:pt idx="883">
                  <c:v>42569</c:v>
                </c:pt>
                <c:pt idx="884">
                  <c:v>42570</c:v>
                </c:pt>
                <c:pt idx="885">
                  <c:v>42571</c:v>
                </c:pt>
                <c:pt idx="886">
                  <c:v>42572</c:v>
                </c:pt>
                <c:pt idx="887">
                  <c:v>42573</c:v>
                </c:pt>
                <c:pt idx="888">
                  <c:v>42576</c:v>
                </c:pt>
                <c:pt idx="889">
                  <c:v>42577</c:v>
                </c:pt>
                <c:pt idx="890">
                  <c:v>42578</c:v>
                </c:pt>
                <c:pt idx="891">
                  <c:v>42579</c:v>
                </c:pt>
                <c:pt idx="892">
                  <c:v>42580</c:v>
                </c:pt>
                <c:pt idx="893">
                  <c:v>42583</c:v>
                </c:pt>
                <c:pt idx="894">
                  <c:v>42584</c:v>
                </c:pt>
                <c:pt idx="895">
                  <c:v>42585</c:v>
                </c:pt>
                <c:pt idx="896">
                  <c:v>42586</c:v>
                </c:pt>
                <c:pt idx="897">
                  <c:v>42587</c:v>
                </c:pt>
                <c:pt idx="898">
                  <c:v>42590</c:v>
                </c:pt>
                <c:pt idx="899">
                  <c:v>42591</c:v>
                </c:pt>
                <c:pt idx="900">
                  <c:v>42592</c:v>
                </c:pt>
                <c:pt idx="901">
                  <c:v>42593</c:v>
                </c:pt>
                <c:pt idx="902">
                  <c:v>42594</c:v>
                </c:pt>
                <c:pt idx="903">
                  <c:v>42597</c:v>
                </c:pt>
                <c:pt idx="904">
                  <c:v>42598</c:v>
                </c:pt>
                <c:pt idx="905">
                  <c:v>42599</c:v>
                </c:pt>
                <c:pt idx="906">
                  <c:v>42600</c:v>
                </c:pt>
                <c:pt idx="907">
                  <c:v>42601</c:v>
                </c:pt>
                <c:pt idx="908">
                  <c:v>42604</c:v>
                </c:pt>
                <c:pt idx="909">
                  <c:v>42605</c:v>
                </c:pt>
                <c:pt idx="910">
                  <c:v>42606</c:v>
                </c:pt>
                <c:pt idx="911">
                  <c:v>42607</c:v>
                </c:pt>
                <c:pt idx="912">
                  <c:v>42608</c:v>
                </c:pt>
                <c:pt idx="913">
                  <c:v>42611</c:v>
                </c:pt>
                <c:pt idx="914">
                  <c:v>42612</c:v>
                </c:pt>
                <c:pt idx="915">
                  <c:v>42613</c:v>
                </c:pt>
                <c:pt idx="916">
                  <c:v>42614</c:v>
                </c:pt>
                <c:pt idx="917">
                  <c:v>42615</c:v>
                </c:pt>
                <c:pt idx="918">
                  <c:v>42618</c:v>
                </c:pt>
                <c:pt idx="919">
                  <c:v>42619</c:v>
                </c:pt>
                <c:pt idx="920">
                  <c:v>42620</c:v>
                </c:pt>
                <c:pt idx="921">
                  <c:v>42621</c:v>
                </c:pt>
                <c:pt idx="922">
                  <c:v>42622</c:v>
                </c:pt>
                <c:pt idx="923">
                  <c:v>42625</c:v>
                </c:pt>
                <c:pt idx="924">
                  <c:v>42626</c:v>
                </c:pt>
                <c:pt idx="925">
                  <c:v>42627</c:v>
                </c:pt>
                <c:pt idx="926">
                  <c:v>42628</c:v>
                </c:pt>
                <c:pt idx="927">
                  <c:v>42629</c:v>
                </c:pt>
                <c:pt idx="928">
                  <c:v>42632</c:v>
                </c:pt>
                <c:pt idx="929">
                  <c:v>42633</c:v>
                </c:pt>
                <c:pt idx="930">
                  <c:v>42634</c:v>
                </c:pt>
                <c:pt idx="931">
                  <c:v>42635</c:v>
                </c:pt>
                <c:pt idx="932">
                  <c:v>42636</c:v>
                </c:pt>
                <c:pt idx="933">
                  <c:v>42639</c:v>
                </c:pt>
                <c:pt idx="934">
                  <c:v>42640</c:v>
                </c:pt>
                <c:pt idx="935">
                  <c:v>42641</c:v>
                </c:pt>
                <c:pt idx="936">
                  <c:v>42642</c:v>
                </c:pt>
                <c:pt idx="937">
                  <c:v>42643</c:v>
                </c:pt>
                <c:pt idx="938">
                  <c:v>42646</c:v>
                </c:pt>
                <c:pt idx="939">
                  <c:v>42647</c:v>
                </c:pt>
                <c:pt idx="940">
                  <c:v>42648</c:v>
                </c:pt>
                <c:pt idx="941">
                  <c:v>42649</c:v>
                </c:pt>
                <c:pt idx="942">
                  <c:v>42650</c:v>
                </c:pt>
                <c:pt idx="943">
                  <c:v>42653</c:v>
                </c:pt>
                <c:pt idx="944">
                  <c:v>42654</c:v>
                </c:pt>
                <c:pt idx="945">
                  <c:v>42655</c:v>
                </c:pt>
                <c:pt idx="946">
                  <c:v>42656</c:v>
                </c:pt>
                <c:pt idx="947">
                  <c:v>42657</c:v>
                </c:pt>
                <c:pt idx="948">
                  <c:v>42660</c:v>
                </c:pt>
                <c:pt idx="949">
                  <c:v>42661</c:v>
                </c:pt>
                <c:pt idx="950">
                  <c:v>42662</c:v>
                </c:pt>
                <c:pt idx="951">
                  <c:v>42663</c:v>
                </c:pt>
                <c:pt idx="952">
                  <c:v>42664</c:v>
                </c:pt>
                <c:pt idx="953">
                  <c:v>42667</c:v>
                </c:pt>
                <c:pt idx="954">
                  <c:v>42668</c:v>
                </c:pt>
                <c:pt idx="955">
                  <c:v>42669</c:v>
                </c:pt>
                <c:pt idx="956">
                  <c:v>42670</c:v>
                </c:pt>
                <c:pt idx="957">
                  <c:v>42671</c:v>
                </c:pt>
                <c:pt idx="958">
                  <c:v>42674</c:v>
                </c:pt>
                <c:pt idx="959">
                  <c:v>42675</c:v>
                </c:pt>
                <c:pt idx="960">
                  <c:v>42676</c:v>
                </c:pt>
                <c:pt idx="961">
                  <c:v>42677</c:v>
                </c:pt>
                <c:pt idx="962">
                  <c:v>42681</c:v>
                </c:pt>
                <c:pt idx="963">
                  <c:v>42682</c:v>
                </c:pt>
                <c:pt idx="964">
                  <c:v>42683</c:v>
                </c:pt>
                <c:pt idx="965">
                  <c:v>42684</c:v>
                </c:pt>
                <c:pt idx="966">
                  <c:v>42685</c:v>
                </c:pt>
                <c:pt idx="967">
                  <c:v>42688</c:v>
                </c:pt>
                <c:pt idx="968">
                  <c:v>42689</c:v>
                </c:pt>
                <c:pt idx="969">
                  <c:v>42690</c:v>
                </c:pt>
                <c:pt idx="970">
                  <c:v>42691</c:v>
                </c:pt>
                <c:pt idx="971">
                  <c:v>42692</c:v>
                </c:pt>
                <c:pt idx="972">
                  <c:v>42695</c:v>
                </c:pt>
                <c:pt idx="973">
                  <c:v>42696</c:v>
                </c:pt>
                <c:pt idx="974">
                  <c:v>42697</c:v>
                </c:pt>
                <c:pt idx="975">
                  <c:v>42698</c:v>
                </c:pt>
                <c:pt idx="976">
                  <c:v>42699</c:v>
                </c:pt>
                <c:pt idx="977">
                  <c:v>42702</c:v>
                </c:pt>
                <c:pt idx="978">
                  <c:v>42703</c:v>
                </c:pt>
                <c:pt idx="979">
                  <c:v>42704</c:v>
                </c:pt>
                <c:pt idx="980">
                  <c:v>42705</c:v>
                </c:pt>
                <c:pt idx="981">
                  <c:v>42706</c:v>
                </c:pt>
                <c:pt idx="982">
                  <c:v>42709</c:v>
                </c:pt>
                <c:pt idx="983">
                  <c:v>42710</c:v>
                </c:pt>
                <c:pt idx="984">
                  <c:v>42711</c:v>
                </c:pt>
                <c:pt idx="985">
                  <c:v>42712</c:v>
                </c:pt>
                <c:pt idx="986">
                  <c:v>42713</c:v>
                </c:pt>
                <c:pt idx="987">
                  <c:v>42716</c:v>
                </c:pt>
                <c:pt idx="988">
                  <c:v>42717</c:v>
                </c:pt>
                <c:pt idx="989">
                  <c:v>42718</c:v>
                </c:pt>
                <c:pt idx="990">
                  <c:v>42719</c:v>
                </c:pt>
                <c:pt idx="991">
                  <c:v>42720</c:v>
                </c:pt>
                <c:pt idx="992">
                  <c:v>42723</c:v>
                </c:pt>
                <c:pt idx="993">
                  <c:v>42724</c:v>
                </c:pt>
                <c:pt idx="994">
                  <c:v>42725</c:v>
                </c:pt>
                <c:pt idx="995">
                  <c:v>42726</c:v>
                </c:pt>
                <c:pt idx="996">
                  <c:v>42727</c:v>
                </c:pt>
                <c:pt idx="997">
                  <c:v>42730</c:v>
                </c:pt>
                <c:pt idx="998">
                  <c:v>42731</c:v>
                </c:pt>
                <c:pt idx="999">
                  <c:v>42732</c:v>
                </c:pt>
                <c:pt idx="1000">
                  <c:v>42733</c:v>
                </c:pt>
                <c:pt idx="1001">
                  <c:v>42734</c:v>
                </c:pt>
                <c:pt idx="1002">
                  <c:v>42738</c:v>
                </c:pt>
                <c:pt idx="1003">
                  <c:v>42739</c:v>
                </c:pt>
                <c:pt idx="1004">
                  <c:v>42740</c:v>
                </c:pt>
                <c:pt idx="1005">
                  <c:v>42741</c:v>
                </c:pt>
                <c:pt idx="1006">
                  <c:v>42744</c:v>
                </c:pt>
                <c:pt idx="1007">
                  <c:v>42745</c:v>
                </c:pt>
                <c:pt idx="1008">
                  <c:v>42746</c:v>
                </c:pt>
                <c:pt idx="1009">
                  <c:v>42747</c:v>
                </c:pt>
                <c:pt idx="1010">
                  <c:v>42748</c:v>
                </c:pt>
                <c:pt idx="1011">
                  <c:v>42751</c:v>
                </c:pt>
                <c:pt idx="1012">
                  <c:v>42752</c:v>
                </c:pt>
                <c:pt idx="1013">
                  <c:v>42753</c:v>
                </c:pt>
                <c:pt idx="1014">
                  <c:v>42754</c:v>
                </c:pt>
                <c:pt idx="1015">
                  <c:v>42755</c:v>
                </c:pt>
                <c:pt idx="1016">
                  <c:v>42758</c:v>
                </c:pt>
                <c:pt idx="1017">
                  <c:v>42759</c:v>
                </c:pt>
                <c:pt idx="1018">
                  <c:v>42760</c:v>
                </c:pt>
                <c:pt idx="1019">
                  <c:v>42761</c:v>
                </c:pt>
                <c:pt idx="1020">
                  <c:v>42762</c:v>
                </c:pt>
                <c:pt idx="1021">
                  <c:v>42765</c:v>
                </c:pt>
                <c:pt idx="1022">
                  <c:v>42766</c:v>
                </c:pt>
                <c:pt idx="1023">
                  <c:v>42767</c:v>
                </c:pt>
                <c:pt idx="1024">
                  <c:v>42768</c:v>
                </c:pt>
                <c:pt idx="1025">
                  <c:v>42769</c:v>
                </c:pt>
                <c:pt idx="1026">
                  <c:v>42772</c:v>
                </c:pt>
                <c:pt idx="1027">
                  <c:v>42773</c:v>
                </c:pt>
                <c:pt idx="1028">
                  <c:v>42774</c:v>
                </c:pt>
                <c:pt idx="1029">
                  <c:v>42775</c:v>
                </c:pt>
                <c:pt idx="1030">
                  <c:v>42776</c:v>
                </c:pt>
                <c:pt idx="1031">
                  <c:v>42779</c:v>
                </c:pt>
                <c:pt idx="1032">
                  <c:v>42780</c:v>
                </c:pt>
                <c:pt idx="1033">
                  <c:v>42781</c:v>
                </c:pt>
                <c:pt idx="1034">
                  <c:v>42782</c:v>
                </c:pt>
                <c:pt idx="1035">
                  <c:v>42783</c:v>
                </c:pt>
                <c:pt idx="1036">
                  <c:v>42786</c:v>
                </c:pt>
                <c:pt idx="1037">
                  <c:v>42787</c:v>
                </c:pt>
                <c:pt idx="1038">
                  <c:v>42788</c:v>
                </c:pt>
                <c:pt idx="1039">
                  <c:v>42790</c:v>
                </c:pt>
                <c:pt idx="1040">
                  <c:v>42793</c:v>
                </c:pt>
                <c:pt idx="1041">
                  <c:v>42794</c:v>
                </c:pt>
                <c:pt idx="1042">
                  <c:v>42795</c:v>
                </c:pt>
                <c:pt idx="1043">
                  <c:v>42796</c:v>
                </c:pt>
                <c:pt idx="1044">
                  <c:v>42797</c:v>
                </c:pt>
                <c:pt idx="1045">
                  <c:v>42800</c:v>
                </c:pt>
                <c:pt idx="1046">
                  <c:v>42801</c:v>
                </c:pt>
                <c:pt idx="1047">
                  <c:v>42803</c:v>
                </c:pt>
                <c:pt idx="1048">
                  <c:v>42804</c:v>
                </c:pt>
                <c:pt idx="1049">
                  <c:v>42807</c:v>
                </c:pt>
                <c:pt idx="1050">
                  <c:v>42808</c:v>
                </c:pt>
                <c:pt idx="1051">
                  <c:v>42809</c:v>
                </c:pt>
                <c:pt idx="1052">
                  <c:v>42810</c:v>
                </c:pt>
                <c:pt idx="1053">
                  <c:v>42811</c:v>
                </c:pt>
                <c:pt idx="1054">
                  <c:v>42814</c:v>
                </c:pt>
                <c:pt idx="1055">
                  <c:v>42815</c:v>
                </c:pt>
                <c:pt idx="1056">
                  <c:v>42816</c:v>
                </c:pt>
                <c:pt idx="1057">
                  <c:v>42817</c:v>
                </c:pt>
                <c:pt idx="1058">
                  <c:v>42818</c:v>
                </c:pt>
                <c:pt idx="1059">
                  <c:v>42821</c:v>
                </c:pt>
                <c:pt idx="1060">
                  <c:v>42822</c:v>
                </c:pt>
                <c:pt idx="1061">
                  <c:v>42823</c:v>
                </c:pt>
                <c:pt idx="1062">
                  <c:v>42824</c:v>
                </c:pt>
                <c:pt idx="1063">
                  <c:v>42825</c:v>
                </c:pt>
                <c:pt idx="1064">
                  <c:v>42828</c:v>
                </c:pt>
                <c:pt idx="1065">
                  <c:v>42829</c:v>
                </c:pt>
                <c:pt idx="1066">
                  <c:v>42830</c:v>
                </c:pt>
                <c:pt idx="1067">
                  <c:v>42831</c:v>
                </c:pt>
                <c:pt idx="1068">
                  <c:v>42832</c:v>
                </c:pt>
                <c:pt idx="1069">
                  <c:v>42835</c:v>
                </c:pt>
                <c:pt idx="1070">
                  <c:v>42836</c:v>
                </c:pt>
                <c:pt idx="1071">
                  <c:v>42837</c:v>
                </c:pt>
                <c:pt idx="1072">
                  <c:v>42838</c:v>
                </c:pt>
                <c:pt idx="1073">
                  <c:v>42839</c:v>
                </c:pt>
                <c:pt idx="1074">
                  <c:v>42842</c:v>
                </c:pt>
                <c:pt idx="1075">
                  <c:v>42843</c:v>
                </c:pt>
                <c:pt idx="1076">
                  <c:v>42844</c:v>
                </c:pt>
                <c:pt idx="1077">
                  <c:v>42845</c:v>
                </c:pt>
                <c:pt idx="1078">
                  <c:v>42846</c:v>
                </c:pt>
                <c:pt idx="1079">
                  <c:v>42849</c:v>
                </c:pt>
                <c:pt idx="1080">
                  <c:v>42850</c:v>
                </c:pt>
                <c:pt idx="1081">
                  <c:v>42851</c:v>
                </c:pt>
                <c:pt idx="1082">
                  <c:v>42852</c:v>
                </c:pt>
                <c:pt idx="1083">
                  <c:v>42853</c:v>
                </c:pt>
                <c:pt idx="1084">
                  <c:v>42857</c:v>
                </c:pt>
                <c:pt idx="1085">
                  <c:v>42858</c:v>
                </c:pt>
                <c:pt idx="1086">
                  <c:v>42859</c:v>
                </c:pt>
                <c:pt idx="1087">
                  <c:v>42860</c:v>
                </c:pt>
                <c:pt idx="1088">
                  <c:v>42865</c:v>
                </c:pt>
                <c:pt idx="1089">
                  <c:v>42866</c:v>
                </c:pt>
                <c:pt idx="1090">
                  <c:v>42867</c:v>
                </c:pt>
                <c:pt idx="1091">
                  <c:v>42870</c:v>
                </c:pt>
                <c:pt idx="1092">
                  <c:v>42871</c:v>
                </c:pt>
                <c:pt idx="1093">
                  <c:v>42872</c:v>
                </c:pt>
                <c:pt idx="1094">
                  <c:v>42873</c:v>
                </c:pt>
                <c:pt idx="1095">
                  <c:v>42874</c:v>
                </c:pt>
                <c:pt idx="1096">
                  <c:v>42877</c:v>
                </c:pt>
                <c:pt idx="1097">
                  <c:v>42878</c:v>
                </c:pt>
                <c:pt idx="1098">
                  <c:v>42879</c:v>
                </c:pt>
                <c:pt idx="1099">
                  <c:v>42880</c:v>
                </c:pt>
                <c:pt idx="1100">
                  <c:v>42881</c:v>
                </c:pt>
                <c:pt idx="1101">
                  <c:v>42884</c:v>
                </c:pt>
                <c:pt idx="1102">
                  <c:v>42885</c:v>
                </c:pt>
                <c:pt idx="1103">
                  <c:v>42886</c:v>
                </c:pt>
                <c:pt idx="1104">
                  <c:v>42887</c:v>
                </c:pt>
                <c:pt idx="1105">
                  <c:v>42888</c:v>
                </c:pt>
                <c:pt idx="1106">
                  <c:v>42891</c:v>
                </c:pt>
                <c:pt idx="1107">
                  <c:v>42892</c:v>
                </c:pt>
                <c:pt idx="1108">
                  <c:v>42893</c:v>
                </c:pt>
                <c:pt idx="1109">
                  <c:v>42894</c:v>
                </c:pt>
                <c:pt idx="1110">
                  <c:v>42895</c:v>
                </c:pt>
                <c:pt idx="1111">
                  <c:v>42899</c:v>
                </c:pt>
                <c:pt idx="1112">
                  <c:v>42900</c:v>
                </c:pt>
                <c:pt idx="1113">
                  <c:v>42901</c:v>
                </c:pt>
                <c:pt idx="1114">
                  <c:v>42902</c:v>
                </c:pt>
                <c:pt idx="1115">
                  <c:v>42905</c:v>
                </c:pt>
                <c:pt idx="1116">
                  <c:v>42906</c:v>
                </c:pt>
                <c:pt idx="1117">
                  <c:v>42907</c:v>
                </c:pt>
                <c:pt idx="1118">
                  <c:v>42908</c:v>
                </c:pt>
                <c:pt idx="1119">
                  <c:v>42909</c:v>
                </c:pt>
                <c:pt idx="1120">
                  <c:v>42912</c:v>
                </c:pt>
                <c:pt idx="1121">
                  <c:v>42913</c:v>
                </c:pt>
                <c:pt idx="1122">
                  <c:v>42914</c:v>
                </c:pt>
                <c:pt idx="1123">
                  <c:v>42915</c:v>
                </c:pt>
                <c:pt idx="1124">
                  <c:v>42916</c:v>
                </c:pt>
                <c:pt idx="1125">
                  <c:v>42919</c:v>
                </c:pt>
                <c:pt idx="1126">
                  <c:v>42920</c:v>
                </c:pt>
                <c:pt idx="1127">
                  <c:v>42921</c:v>
                </c:pt>
                <c:pt idx="1128">
                  <c:v>42922</c:v>
                </c:pt>
                <c:pt idx="1129">
                  <c:v>42923</c:v>
                </c:pt>
                <c:pt idx="1130">
                  <c:v>42926</c:v>
                </c:pt>
                <c:pt idx="1131">
                  <c:v>42927</c:v>
                </c:pt>
                <c:pt idx="1132">
                  <c:v>42928</c:v>
                </c:pt>
                <c:pt idx="1133">
                  <c:v>42929</c:v>
                </c:pt>
                <c:pt idx="1134">
                  <c:v>42930</c:v>
                </c:pt>
                <c:pt idx="1135">
                  <c:v>42933</c:v>
                </c:pt>
                <c:pt idx="1136">
                  <c:v>42934</c:v>
                </c:pt>
                <c:pt idx="1137">
                  <c:v>42935</c:v>
                </c:pt>
                <c:pt idx="1138">
                  <c:v>42936</c:v>
                </c:pt>
                <c:pt idx="1139">
                  <c:v>42937</c:v>
                </c:pt>
                <c:pt idx="1140">
                  <c:v>42940</c:v>
                </c:pt>
                <c:pt idx="1141">
                  <c:v>42941</c:v>
                </c:pt>
                <c:pt idx="1142">
                  <c:v>42942</c:v>
                </c:pt>
                <c:pt idx="1143">
                  <c:v>42943</c:v>
                </c:pt>
                <c:pt idx="1144">
                  <c:v>42944</c:v>
                </c:pt>
                <c:pt idx="1145">
                  <c:v>42947</c:v>
                </c:pt>
                <c:pt idx="1146">
                  <c:v>42948</c:v>
                </c:pt>
                <c:pt idx="1147">
                  <c:v>42949</c:v>
                </c:pt>
                <c:pt idx="1148">
                  <c:v>42950</c:v>
                </c:pt>
                <c:pt idx="1149">
                  <c:v>42951</c:v>
                </c:pt>
                <c:pt idx="1150">
                  <c:v>42954</c:v>
                </c:pt>
                <c:pt idx="1151">
                  <c:v>42955</c:v>
                </c:pt>
                <c:pt idx="1152">
                  <c:v>42956</c:v>
                </c:pt>
                <c:pt idx="1153">
                  <c:v>42957</c:v>
                </c:pt>
                <c:pt idx="1154">
                  <c:v>42958</c:v>
                </c:pt>
                <c:pt idx="1155">
                  <c:v>42961</c:v>
                </c:pt>
                <c:pt idx="1156">
                  <c:v>42962</c:v>
                </c:pt>
                <c:pt idx="1157">
                  <c:v>42963</c:v>
                </c:pt>
                <c:pt idx="1158">
                  <c:v>42964</c:v>
                </c:pt>
                <c:pt idx="1159">
                  <c:v>42965</c:v>
                </c:pt>
                <c:pt idx="1160">
                  <c:v>42968</c:v>
                </c:pt>
                <c:pt idx="1161">
                  <c:v>42969</c:v>
                </c:pt>
                <c:pt idx="1162">
                  <c:v>42970</c:v>
                </c:pt>
                <c:pt idx="1163">
                  <c:v>42971</c:v>
                </c:pt>
                <c:pt idx="1164">
                  <c:v>42972</c:v>
                </c:pt>
                <c:pt idx="1165">
                  <c:v>42975</c:v>
                </c:pt>
                <c:pt idx="1166">
                  <c:v>42976</c:v>
                </c:pt>
                <c:pt idx="1167">
                  <c:v>42977</c:v>
                </c:pt>
                <c:pt idx="1168">
                  <c:v>42978</c:v>
                </c:pt>
                <c:pt idx="1169">
                  <c:v>42979</c:v>
                </c:pt>
                <c:pt idx="1170">
                  <c:v>42982</c:v>
                </c:pt>
                <c:pt idx="1171">
                  <c:v>42983</c:v>
                </c:pt>
                <c:pt idx="1172">
                  <c:v>42984</c:v>
                </c:pt>
                <c:pt idx="1173">
                  <c:v>42985</c:v>
                </c:pt>
                <c:pt idx="1174">
                  <c:v>42986</c:v>
                </c:pt>
                <c:pt idx="1175">
                  <c:v>42989</c:v>
                </c:pt>
                <c:pt idx="1176">
                  <c:v>42990</c:v>
                </c:pt>
                <c:pt idx="1177">
                  <c:v>42991</c:v>
                </c:pt>
                <c:pt idx="1178">
                  <c:v>42992</c:v>
                </c:pt>
                <c:pt idx="1179">
                  <c:v>42993</c:v>
                </c:pt>
                <c:pt idx="1180">
                  <c:v>42996</c:v>
                </c:pt>
                <c:pt idx="1181">
                  <c:v>42997</c:v>
                </c:pt>
                <c:pt idx="1182">
                  <c:v>42998</c:v>
                </c:pt>
                <c:pt idx="1183">
                  <c:v>42999</c:v>
                </c:pt>
                <c:pt idx="1184">
                  <c:v>43000</c:v>
                </c:pt>
                <c:pt idx="1185">
                  <c:v>43003</c:v>
                </c:pt>
                <c:pt idx="1186">
                  <c:v>43004</c:v>
                </c:pt>
                <c:pt idx="1187">
                  <c:v>43005</c:v>
                </c:pt>
                <c:pt idx="1188">
                  <c:v>43006</c:v>
                </c:pt>
                <c:pt idx="1189">
                  <c:v>43007</c:v>
                </c:pt>
                <c:pt idx="1190">
                  <c:v>43010</c:v>
                </c:pt>
                <c:pt idx="1191">
                  <c:v>43011</c:v>
                </c:pt>
                <c:pt idx="1192">
                  <c:v>43012</c:v>
                </c:pt>
                <c:pt idx="1193">
                  <c:v>43013</c:v>
                </c:pt>
                <c:pt idx="1194">
                  <c:v>43014</c:v>
                </c:pt>
                <c:pt idx="1195">
                  <c:v>43017</c:v>
                </c:pt>
                <c:pt idx="1196">
                  <c:v>43018</c:v>
                </c:pt>
                <c:pt idx="1197">
                  <c:v>43019</c:v>
                </c:pt>
                <c:pt idx="1198">
                  <c:v>43020</c:v>
                </c:pt>
                <c:pt idx="1199">
                  <c:v>43021</c:v>
                </c:pt>
                <c:pt idx="1200">
                  <c:v>43024</c:v>
                </c:pt>
                <c:pt idx="1201">
                  <c:v>43025</c:v>
                </c:pt>
                <c:pt idx="1202">
                  <c:v>43026</c:v>
                </c:pt>
                <c:pt idx="1203">
                  <c:v>43027</c:v>
                </c:pt>
                <c:pt idx="1204">
                  <c:v>43028</c:v>
                </c:pt>
                <c:pt idx="1205">
                  <c:v>43031</c:v>
                </c:pt>
                <c:pt idx="1206">
                  <c:v>43032</c:v>
                </c:pt>
                <c:pt idx="1207">
                  <c:v>43033</c:v>
                </c:pt>
                <c:pt idx="1208">
                  <c:v>43034</c:v>
                </c:pt>
                <c:pt idx="1209">
                  <c:v>43035</c:v>
                </c:pt>
                <c:pt idx="1210">
                  <c:v>43038</c:v>
                </c:pt>
                <c:pt idx="1211">
                  <c:v>43039</c:v>
                </c:pt>
                <c:pt idx="1212">
                  <c:v>43040</c:v>
                </c:pt>
                <c:pt idx="1213">
                  <c:v>43041</c:v>
                </c:pt>
                <c:pt idx="1214">
                  <c:v>43042</c:v>
                </c:pt>
                <c:pt idx="1215">
                  <c:v>43046</c:v>
                </c:pt>
                <c:pt idx="1216">
                  <c:v>43047</c:v>
                </c:pt>
                <c:pt idx="1217">
                  <c:v>43048</c:v>
                </c:pt>
                <c:pt idx="1218">
                  <c:v>43049</c:v>
                </c:pt>
                <c:pt idx="1219">
                  <c:v>43052</c:v>
                </c:pt>
                <c:pt idx="1220">
                  <c:v>43053</c:v>
                </c:pt>
                <c:pt idx="1221">
                  <c:v>43054</c:v>
                </c:pt>
                <c:pt idx="1222">
                  <c:v>43055</c:v>
                </c:pt>
                <c:pt idx="1223">
                  <c:v>43056</c:v>
                </c:pt>
                <c:pt idx="1224">
                  <c:v>43059</c:v>
                </c:pt>
                <c:pt idx="1225">
                  <c:v>43060</c:v>
                </c:pt>
                <c:pt idx="1226">
                  <c:v>43061</c:v>
                </c:pt>
                <c:pt idx="1227">
                  <c:v>43062</c:v>
                </c:pt>
                <c:pt idx="1228">
                  <c:v>43063</c:v>
                </c:pt>
                <c:pt idx="1229">
                  <c:v>43066</c:v>
                </c:pt>
                <c:pt idx="1230">
                  <c:v>43067</c:v>
                </c:pt>
                <c:pt idx="1231">
                  <c:v>43068</c:v>
                </c:pt>
                <c:pt idx="1232">
                  <c:v>43069</c:v>
                </c:pt>
                <c:pt idx="1233">
                  <c:v>43070</c:v>
                </c:pt>
                <c:pt idx="1234">
                  <c:v>43073</c:v>
                </c:pt>
                <c:pt idx="1235">
                  <c:v>43074</c:v>
                </c:pt>
                <c:pt idx="1236">
                  <c:v>43075</c:v>
                </c:pt>
                <c:pt idx="1237">
                  <c:v>43076</c:v>
                </c:pt>
                <c:pt idx="1238">
                  <c:v>43077</c:v>
                </c:pt>
                <c:pt idx="1239">
                  <c:v>43080</c:v>
                </c:pt>
                <c:pt idx="1240">
                  <c:v>43081</c:v>
                </c:pt>
                <c:pt idx="1241">
                  <c:v>43082</c:v>
                </c:pt>
                <c:pt idx="1242">
                  <c:v>43083</c:v>
                </c:pt>
                <c:pt idx="1243">
                  <c:v>43084</c:v>
                </c:pt>
                <c:pt idx="1244">
                  <c:v>43087</c:v>
                </c:pt>
                <c:pt idx="1245">
                  <c:v>43088</c:v>
                </c:pt>
                <c:pt idx="1246">
                  <c:v>43089</c:v>
                </c:pt>
                <c:pt idx="1247">
                  <c:v>43090</c:v>
                </c:pt>
                <c:pt idx="1248">
                  <c:v>43091</c:v>
                </c:pt>
                <c:pt idx="1249">
                  <c:v>43094</c:v>
                </c:pt>
                <c:pt idx="1250">
                  <c:v>43095</c:v>
                </c:pt>
                <c:pt idx="1251">
                  <c:v>43096</c:v>
                </c:pt>
                <c:pt idx="1252">
                  <c:v>43097</c:v>
                </c:pt>
                <c:pt idx="1253">
                  <c:v>43098</c:v>
                </c:pt>
                <c:pt idx="1254">
                  <c:v>43103</c:v>
                </c:pt>
                <c:pt idx="1255">
                  <c:v>43104</c:v>
                </c:pt>
                <c:pt idx="1256">
                  <c:v>43105</c:v>
                </c:pt>
                <c:pt idx="1257">
                  <c:v>43109</c:v>
                </c:pt>
                <c:pt idx="1258">
                  <c:v>43110</c:v>
                </c:pt>
                <c:pt idx="1259">
                  <c:v>43111</c:v>
                </c:pt>
                <c:pt idx="1260">
                  <c:v>43112</c:v>
                </c:pt>
                <c:pt idx="1261">
                  <c:v>43115</c:v>
                </c:pt>
                <c:pt idx="1262">
                  <c:v>43116</c:v>
                </c:pt>
                <c:pt idx="1263">
                  <c:v>43117</c:v>
                </c:pt>
                <c:pt idx="1264">
                  <c:v>43118</c:v>
                </c:pt>
                <c:pt idx="1265">
                  <c:v>43119</c:v>
                </c:pt>
                <c:pt idx="1266">
                  <c:v>43122</c:v>
                </c:pt>
                <c:pt idx="1267">
                  <c:v>43123</c:v>
                </c:pt>
                <c:pt idx="1268">
                  <c:v>43124</c:v>
                </c:pt>
                <c:pt idx="1269">
                  <c:v>43125</c:v>
                </c:pt>
                <c:pt idx="1270">
                  <c:v>43126</c:v>
                </c:pt>
                <c:pt idx="1271">
                  <c:v>43129</c:v>
                </c:pt>
                <c:pt idx="1272">
                  <c:v>43130</c:v>
                </c:pt>
                <c:pt idx="1273">
                  <c:v>43131</c:v>
                </c:pt>
                <c:pt idx="1274">
                  <c:v>43132</c:v>
                </c:pt>
                <c:pt idx="1275">
                  <c:v>43133</c:v>
                </c:pt>
                <c:pt idx="1276">
                  <c:v>43136</c:v>
                </c:pt>
                <c:pt idx="1277">
                  <c:v>43137</c:v>
                </c:pt>
                <c:pt idx="1278">
                  <c:v>43138</c:v>
                </c:pt>
                <c:pt idx="1279">
                  <c:v>43139</c:v>
                </c:pt>
                <c:pt idx="1280">
                  <c:v>43140</c:v>
                </c:pt>
                <c:pt idx="1281">
                  <c:v>43143</c:v>
                </c:pt>
                <c:pt idx="1282">
                  <c:v>43144</c:v>
                </c:pt>
                <c:pt idx="1283">
                  <c:v>43145</c:v>
                </c:pt>
                <c:pt idx="1284">
                  <c:v>43146</c:v>
                </c:pt>
                <c:pt idx="1285">
                  <c:v>43147</c:v>
                </c:pt>
                <c:pt idx="1286">
                  <c:v>43150</c:v>
                </c:pt>
                <c:pt idx="1287">
                  <c:v>43151</c:v>
                </c:pt>
                <c:pt idx="1288">
                  <c:v>43152</c:v>
                </c:pt>
                <c:pt idx="1289">
                  <c:v>43153</c:v>
                </c:pt>
                <c:pt idx="1290">
                  <c:v>43157</c:v>
                </c:pt>
                <c:pt idx="1291">
                  <c:v>43158</c:v>
                </c:pt>
                <c:pt idx="1292">
                  <c:v>43159</c:v>
                </c:pt>
                <c:pt idx="1293">
                  <c:v>43160</c:v>
                </c:pt>
                <c:pt idx="1294">
                  <c:v>43161</c:v>
                </c:pt>
                <c:pt idx="1295">
                  <c:v>43164</c:v>
                </c:pt>
                <c:pt idx="1296">
                  <c:v>43165</c:v>
                </c:pt>
                <c:pt idx="1297">
                  <c:v>43166</c:v>
                </c:pt>
                <c:pt idx="1298">
                  <c:v>43168</c:v>
                </c:pt>
                <c:pt idx="1299">
                  <c:v>43171</c:v>
                </c:pt>
                <c:pt idx="1300">
                  <c:v>43172</c:v>
                </c:pt>
                <c:pt idx="1301">
                  <c:v>43173</c:v>
                </c:pt>
                <c:pt idx="1302">
                  <c:v>43174</c:v>
                </c:pt>
                <c:pt idx="1303">
                  <c:v>43175</c:v>
                </c:pt>
                <c:pt idx="1304">
                  <c:v>43178</c:v>
                </c:pt>
                <c:pt idx="1305">
                  <c:v>43179</c:v>
                </c:pt>
                <c:pt idx="1306">
                  <c:v>43180</c:v>
                </c:pt>
                <c:pt idx="1307">
                  <c:v>43181</c:v>
                </c:pt>
                <c:pt idx="1308">
                  <c:v>43182</c:v>
                </c:pt>
                <c:pt idx="1309">
                  <c:v>43185</c:v>
                </c:pt>
                <c:pt idx="1310">
                  <c:v>43186</c:v>
                </c:pt>
                <c:pt idx="1311">
                  <c:v>43187</c:v>
                </c:pt>
                <c:pt idx="1312">
                  <c:v>43188</c:v>
                </c:pt>
                <c:pt idx="1313">
                  <c:v>43189</c:v>
                </c:pt>
                <c:pt idx="1314">
                  <c:v>43192</c:v>
                </c:pt>
                <c:pt idx="1315">
                  <c:v>43193</c:v>
                </c:pt>
                <c:pt idx="1316">
                  <c:v>43194</c:v>
                </c:pt>
                <c:pt idx="1317">
                  <c:v>43195</c:v>
                </c:pt>
                <c:pt idx="1318">
                  <c:v>43196</c:v>
                </c:pt>
                <c:pt idx="1319">
                  <c:v>43199</c:v>
                </c:pt>
                <c:pt idx="1320">
                  <c:v>43200</c:v>
                </c:pt>
                <c:pt idx="1321">
                  <c:v>43201</c:v>
                </c:pt>
                <c:pt idx="1322">
                  <c:v>43202</c:v>
                </c:pt>
                <c:pt idx="1323">
                  <c:v>43203</c:v>
                </c:pt>
                <c:pt idx="1324">
                  <c:v>43206</c:v>
                </c:pt>
                <c:pt idx="1325">
                  <c:v>43207</c:v>
                </c:pt>
                <c:pt idx="1326">
                  <c:v>43208</c:v>
                </c:pt>
                <c:pt idx="1327">
                  <c:v>43209</c:v>
                </c:pt>
                <c:pt idx="1328">
                  <c:v>43210</c:v>
                </c:pt>
                <c:pt idx="1329">
                  <c:v>43213</c:v>
                </c:pt>
                <c:pt idx="1330">
                  <c:v>43214</c:v>
                </c:pt>
                <c:pt idx="1331">
                  <c:v>43215</c:v>
                </c:pt>
                <c:pt idx="1332">
                  <c:v>43216</c:v>
                </c:pt>
                <c:pt idx="1333">
                  <c:v>43217</c:v>
                </c:pt>
                <c:pt idx="1334">
                  <c:v>43218</c:v>
                </c:pt>
                <c:pt idx="1335">
                  <c:v>43220</c:v>
                </c:pt>
                <c:pt idx="1336">
                  <c:v>43222</c:v>
                </c:pt>
                <c:pt idx="1337">
                  <c:v>43223</c:v>
                </c:pt>
                <c:pt idx="1338">
                  <c:v>43224</c:v>
                </c:pt>
                <c:pt idx="1339">
                  <c:v>43227</c:v>
                </c:pt>
                <c:pt idx="1340">
                  <c:v>43228</c:v>
                </c:pt>
                <c:pt idx="1341">
                  <c:v>43230</c:v>
                </c:pt>
                <c:pt idx="1342">
                  <c:v>43231</c:v>
                </c:pt>
                <c:pt idx="1343">
                  <c:v>43234</c:v>
                </c:pt>
                <c:pt idx="1344">
                  <c:v>43235</c:v>
                </c:pt>
                <c:pt idx="1345">
                  <c:v>43236</c:v>
                </c:pt>
                <c:pt idx="1346">
                  <c:v>43237</c:v>
                </c:pt>
                <c:pt idx="1347">
                  <c:v>43238</c:v>
                </c:pt>
                <c:pt idx="1348">
                  <c:v>43241</c:v>
                </c:pt>
                <c:pt idx="1349">
                  <c:v>43242</c:v>
                </c:pt>
                <c:pt idx="1350">
                  <c:v>43243</c:v>
                </c:pt>
                <c:pt idx="1351">
                  <c:v>43244</c:v>
                </c:pt>
                <c:pt idx="1352">
                  <c:v>43245</c:v>
                </c:pt>
                <c:pt idx="1353">
                  <c:v>43248</c:v>
                </c:pt>
                <c:pt idx="1354">
                  <c:v>43249</c:v>
                </c:pt>
                <c:pt idx="1355">
                  <c:v>43250</c:v>
                </c:pt>
                <c:pt idx="1356">
                  <c:v>43251</c:v>
                </c:pt>
                <c:pt idx="1357">
                  <c:v>43252</c:v>
                </c:pt>
                <c:pt idx="1358">
                  <c:v>43255</c:v>
                </c:pt>
                <c:pt idx="1359">
                  <c:v>43256</c:v>
                </c:pt>
                <c:pt idx="1360">
                  <c:v>43257</c:v>
                </c:pt>
                <c:pt idx="1361">
                  <c:v>43258</c:v>
                </c:pt>
                <c:pt idx="1362">
                  <c:v>43259</c:v>
                </c:pt>
                <c:pt idx="1363">
                  <c:v>43260</c:v>
                </c:pt>
                <c:pt idx="1364">
                  <c:v>43262</c:v>
                </c:pt>
                <c:pt idx="1365">
                  <c:v>43264</c:v>
                </c:pt>
                <c:pt idx="1366">
                  <c:v>43265</c:v>
                </c:pt>
                <c:pt idx="1367">
                  <c:v>43266</c:v>
                </c:pt>
                <c:pt idx="1368">
                  <c:v>43269</c:v>
                </c:pt>
                <c:pt idx="1369">
                  <c:v>43270</c:v>
                </c:pt>
                <c:pt idx="1370">
                  <c:v>43271</c:v>
                </c:pt>
                <c:pt idx="1371">
                  <c:v>43272</c:v>
                </c:pt>
                <c:pt idx="1372">
                  <c:v>43273</c:v>
                </c:pt>
                <c:pt idx="1373">
                  <c:v>43276</c:v>
                </c:pt>
                <c:pt idx="1374">
                  <c:v>43277</c:v>
                </c:pt>
                <c:pt idx="1375">
                  <c:v>43278</c:v>
                </c:pt>
                <c:pt idx="1376">
                  <c:v>43279</c:v>
                </c:pt>
                <c:pt idx="1377">
                  <c:v>43280</c:v>
                </c:pt>
                <c:pt idx="1378">
                  <c:v>43283</c:v>
                </c:pt>
                <c:pt idx="1379">
                  <c:v>43284</c:v>
                </c:pt>
                <c:pt idx="1380">
                  <c:v>43285</c:v>
                </c:pt>
                <c:pt idx="1381">
                  <c:v>43286</c:v>
                </c:pt>
                <c:pt idx="1382">
                  <c:v>43287</c:v>
                </c:pt>
                <c:pt idx="1383">
                  <c:v>43290</c:v>
                </c:pt>
                <c:pt idx="1384">
                  <c:v>43291</c:v>
                </c:pt>
                <c:pt idx="1385">
                  <c:v>43292</c:v>
                </c:pt>
                <c:pt idx="1386">
                  <c:v>43293</c:v>
                </c:pt>
                <c:pt idx="1387">
                  <c:v>43294</c:v>
                </c:pt>
                <c:pt idx="1388">
                  <c:v>43297</c:v>
                </c:pt>
                <c:pt idx="1389">
                  <c:v>43298</c:v>
                </c:pt>
                <c:pt idx="1390">
                  <c:v>43299</c:v>
                </c:pt>
                <c:pt idx="1391">
                  <c:v>43300</c:v>
                </c:pt>
                <c:pt idx="1392">
                  <c:v>43301</c:v>
                </c:pt>
                <c:pt idx="1393">
                  <c:v>43304</c:v>
                </c:pt>
                <c:pt idx="1394">
                  <c:v>43305</c:v>
                </c:pt>
                <c:pt idx="1395">
                  <c:v>43306</c:v>
                </c:pt>
                <c:pt idx="1396">
                  <c:v>43307</c:v>
                </c:pt>
                <c:pt idx="1397">
                  <c:v>43308</c:v>
                </c:pt>
                <c:pt idx="1398">
                  <c:v>43311</c:v>
                </c:pt>
                <c:pt idx="1399">
                  <c:v>43312</c:v>
                </c:pt>
                <c:pt idx="1400">
                  <c:v>43313</c:v>
                </c:pt>
                <c:pt idx="1401">
                  <c:v>43314</c:v>
                </c:pt>
                <c:pt idx="1402">
                  <c:v>43315</c:v>
                </c:pt>
                <c:pt idx="1403">
                  <c:v>43318</c:v>
                </c:pt>
                <c:pt idx="1404">
                  <c:v>43319</c:v>
                </c:pt>
                <c:pt idx="1405">
                  <c:v>43320</c:v>
                </c:pt>
                <c:pt idx="1406">
                  <c:v>43321</c:v>
                </c:pt>
                <c:pt idx="1407">
                  <c:v>43322</c:v>
                </c:pt>
                <c:pt idx="1408">
                  <c:v>43325</c:v>
                </c:pt>
                <c:pt idx="1409">
                  <c:v>43326</c:v>
                </c:pt>
                <c:pt idx="1410">
                  <c:v>43327</c:v>
                </c:pt>
                <c:pt idx="1411">
                  <c:v>43328</c:v>
                </c:pt>
                <c:pt idx="1412">
                  <c:v>43329</c:v>
                </c:pt>
                <c:pt idx="1413">
                  <c:v>43332</c:v>
                </c:pt>
                <c:pt idx="1414">
                  <c:v>43333</c:v>
                </c:pt>
                <c:pt idx="1415">
                  <c:v>43334</c:v>
                </c:pt>
                <c:pt idx="1416">
                  <c:v>43335</c:v>
                </c:pt>
                <c:pt idx="1417">
                  <c:v>43336</c:v>
                </c:pt>
                <c:pt idx="1418">
                  <c:v>43339</c:v>
                </c:pt>
                <c:pt idx="1419">
                  <c:v>43340</c:v>
                </c:pt>
                <c:pt idx="1420">
                  <c:v>43341</c:v>
                </c:pt>
                <c:pt idx="1421">
                  <c:v>43342</c:v>
                </c:pt>
                <c:pt idx="1422">
                  <c:v>43343</c:v>
                </c:pt>
                <c:pt idx="1423">
                  <c:v>43346</c:v>
                </c:pt>
                <c:pt idx="1424">
                  <c:v>43347</c:v>
                </c:pt>
                <c:pt idx="1425">
                  <c:v>43348</c:v>
                </c:pt>
                <c:pt idx="1426">
                  <c:v>43349</c:v>
                </c:pt>
                <c:pt idx="1427">
                  <c:v>43350</c:v>
                </c:pt>
                <c:pt idx="1428">
                  <c:v>43353</c:v>
                </c:pt>
                <c:pt idx="1429">
                  <c:v>43354</c:v>
                </c:pt>
                <c:pt idx="1430">
                  <c:v>43355</c:v>
                </c:pt>
                <c:pt idx="1431">
                  <c:v>43356</c:v>
                </c:pt>
                <c:pt idx="1432">
                  <c:v>43357</c:v>
                </c:pt>
                <c:pt idx="1433">
                  <c:v>43360</c:v>
                </c:pt>
                <c:pt idx="1434">
                  <c:v>43361</c:v>
                </c:pt>
                <c:pt idx="1435">
                  <c:v>43362</c:v>
                </c:pt>
                <c:pt idx="1436">
                  <c:v>43363</c:v>
                </c:pt>
                <c:pt idx="1437">
                  <c:v>43364</c:v>
                </c:pt>
                <c:pt idx="1438">
                  <c:v>43367</c:v>
                </c:pt>
                <c:pt idx="1439">
                  <c:v>43368</c:v>
                </c:pt>
                <c:pt idx="1440">
                  <c:v>43369</c:v>
                </c:pt>
                <c:pt idx="1441">
                  <c:v>43370</c:v>
                </c:pt>
                <c:pt idx="1442">
                  <c:v>43371</c:v>
                </c:pt>
                <c:pt idx="1443">
                  <c:v>43374</c:v>
                </c:pt>
                <c:pt idx="1444">
                  <c:v>43375</c:v>
                </c:pt>
                <c:pt idx="1445">
                  <c:v>43376</c:v>
                </c:pt>
                <c:pt idx="1446">
                  <c:v>43377</c:v>
                </c:pt>
                <c:pt idx="1447">
                  <c:v>43378</c:v>
                </c:pt>
                <c:pt idx="1448">
                  <c:v>43381</c:v>
                </c:pt>
                <c:pt idx="1449">
                  <c:v>43382</c:v>
                </c:pt>
                <c:pt idx="1450">
                  <c:v>43383</c:v>
                </c:pt>
                <c:pt idx="1451">
                  <c:v>43384</c:v>
                </c:pt>
                <c:pt idx="1452">
                  <c:v>43385</c:v>
                </c:pt>
                <c:pt idx="1453">
                  <c:v>43388</c:v>
                </c:pt>
                <c:pt idx="1454">
                  <c:v>43389</c:v>
                </c:pt>
                <c:pt idx="1455">
                  <c:v>43390</c:v>
                </c:pt>
                <c:pt idx="1456">
                  <c:v>43391</c:v>
                </c:pt>
                <c:pt idx="1457">
                  <c:v>43392</c:v>
                </c:pt>
                <c:pt idx="1458">
                  <c:v>43395</c:v>
                </c:pt>
                <c:pt idx="1459">
                  <c:v>43396</c:v>
                </c:pt>
                <c:pt idx="1460">
                  <c:v>43397</c:v>
                </c:pt>
                <c:pt idx="1461">
                  <c:v>43398</c:v>
                </c:pt>
                <c:pt idx="1462">
                  <c:v>43399</c:v>
                </c:pt>
                <c:pt idx="1463">
                  <c:v>43402</c:v>
                </c:pt>
                <c:pt idx="1464">
                  <c:v>43403</c:v>
                </c:pt>
                <c:pt idx="1465">
                  <c:v>43404</c:v>
                </c:pt>
                <c:pt idx="1466">
                  <c:v>43405</c:v>
                </c:pt>
                <c:pt idx="1467">
                  <c:v>43406</c:v>
                </c:pt>
                <c:pt idx="1468">
                  <c:v>43410</c:v>
                </c:pt>
                <c:pt idx="1469">
                  <c:v>43411</c:v>
                </c:pt>
                <c:pt idx="1470">
                  <c:v>43412</c:v>
                </c:pt>
                <c:pt idx="1471">
                  <c:v>43413</c:v>
                </c:pt>
                <c:pt idx="1472">
                  <c:v>43416</c:v>
                </c:pt>
                <c:pt idx="1473">
                  <c:v>43417</c:v>
                </c:pt>
                <c:pt idx="1474">
                  <c:v>43418</c:v>
                </c:pt>
                <c:pt idx="1475">
                  <c:v>43419</c:v>
                </c:pt>
                <c:pt idx="1476">
                  <c:v>43420</c:v>
                </c:pt>
                <c:pt idx="1477">
                  <c:v>43423</c:v>
                </c:pt>
                <c:pt idx="1478">
                  <c:v>43424</c:v>
                </c:pt>
                <c:pt idx="1479">
                  <c:v>43425</c:v>
                </c:pt>
                <c:pt idx="1480">
                  <c:v>43426</c:v>
                </c:pt>
                <c:pt idx="1481">
                  <c:v>43427</c:v>
                </c:pt>
                <c:pt idx="1482">
                  <c:v>43430</c:v>
                </c:pt>
                <c:pt idx="1483">
                  <c:v>43431</c:v>
                </c:pt>
                <c:pt idx="1484">
                  <c:v>43432</c:v>
                </c:pt>
                <c:pt idx="1485">
                  <c:v>43433</c:v>
                </c:pt>
                <c:pt idx="1486">
                  <c:v>43434</c:v>
                </c:pt>
                <c:pt idx="1487">
                  <c:v>43437</c:v>
                </c:pt>
                <c:pt idx="1488">
                  <c:v>43438</c:v>
                </c:pt>
                <c:pt idx="1489">
                  <c:v>43439</c:v>
                </c:pt>
                <c:pt idx="1490">
                  <c:v>43440</c:v>
                </c:pt>
                <c:pt idx="1491">
                  <c:v>43441</c:v>
                </c:pt>
                <c:pt idx="1492">
                  <c:v>43444</c:v>
                </c:pt>
                <c:pt idx="1493">
                  <c:v>43445</c:v>
                </c:pt>
                <c:pt idx="1494">
                  <c:v>43446</c:v>
                </c:pt>
                <c:pt idx="1495">
                  <c:v>43447</c:v>
                </c:pt>
                <c:pt idx="1496">
                  <c:v>43448</c:v>
                </c:pt>
                <c:pt idx="1497">
                  <c:v>43451</c:v>
                </c:pt>
                <c:pt idx="1498">
                  <c:v>43452</c:v>
                </c:pt>
                <c:pt idx="1499">
                  <c:v>43453</c:v>
                </c:pt>
                <c:pt idx="1500">
                  <c:v>43454</c:v>
                </c:pt>
                <c:pt idx="1501">
                  <c:v>43455</c:v>
                </c:pt>
                <c:pt idx="1502">
                  <c:v>43458</c:v>
                </c:pt>
                <c:pt idx="1503">
                  <c:v>43459</c:v>
                </c:pt>
                <c:pt idx="1504">
                  <c:v>43460</c:v>
                </c:pt>
                <c:pt idx="1505">
                  <c:v>43461</c:v>
                </c:pt>
                <c:pt idx="1506">
                  <c:v>43462</c:v>
                </c:pt>
                <c:pt idx="1507">
                  <c:v>43463</c:v>
                </c:pt>
                <c:pt idx="1508">
                  <c:v>43468</c:v>
                </c:pt>
                <c:pt idx="1509">
                  <c:v>43469</c:v>
                </c:pt>
                <c:pt idx="1510">
                  <c:v>43473</c:v>
                </c:pt>
                <c:pt idx="1511">
                  <c:v>43474</c:v>
                </c:pt>
                <c:pt idx="1512">
                  <c:v>43475</c:v>
                </c:pt>
                <c:pt idx="1513">
                  <c:v>43476</c:v>
                </c:pt>
                <c:pt idx="1514">
                  <c:v>43479</c:v>
                </c:pt>
                <c:pt idx="1515">
                  <c:v>43480</c:v>
                </c:pt>
                <c:pt idx="1516">
                  <c:v>43481</c:v>
                </c:pt>
                <c:pt idx="1517">
                  <c:v>43482</c:v>
                </c:pt>
                <c:pt idx="1518">
                  <c:v>43483</c:v>
                </c:pt>
                <c:pt idx="1519">
                  <c:v>43486</c:v>
                </c:pt>
                <c:pt idx="1520">
                  <c:v>43487</c:v>
                </c:pt>
                <c:pt idx="1521">
                  <c:v>43488</c:v>
                </c:pt>
                <c:pt idx="1522">
                  <c:v>43489</c:v>
                </c:pt>
                <c:pt idx="1523">
                  <c:v>43490</c:v>
                </c:pt>
                <c:pt idx="1524">
                  <c:v>43493</c:v>
                </c:pt>
                <c:pt idx="1525">
                  <c:v>43494</c:v>
                </c:pt>
                <c:pt idx="1526">
                  <c:v>43495</c:v>
                </c:pt>
                <c:pt idx="1527">
                  <c:v>43496</c:v>
                </c:pt>
                <c:pt idx="1528">
                  <c:v>43497</c:v>
                </c:pt>
                <c:pt idx="1529">
                  <c:v>43500</c:v>
                </c:pt>
                <c:pt idx="1530">
                  <c:v>43501</c:v>
                </c:pt>
                <c:pt idx="1531">
                  <c:v>43502</c:v>
                </c:pt>
                <c:pt idx="1532">
                  <c:v>43503</c:v>
                </c:pt>
                <c:pt idx="1533">
                  <c:v>43504</c:v>
                </c:pt>
                <c:pt idx="1534">
                  <c:v>43507</c:v>
                </c:pt>
                <c:pt idx="1535">
                  <c:v>43508</c:v>
                </c:pt>
                <c:pt idx="1536">
                  <c:v>43509</c:v>
                </c:pt>
                <c:pt idx="1537">
                  <c:v>43510</c:v>
                </c:pt>
                <c:pt idx="1538">
                  <c:v>43511</c:v>
                </c:pt>
                <c:pt idx="1539">
                  <c:v>43514</c:v>
                </c:pt>
                <c:pt idx="1540">
                  <c:v>43515</c:v>
                </c:pt>
                <c:pt idx="1541">
                  <c:v>43516</c:v>
                </c:pt>
                <c:pt idx="1542">
                  <c:v>43517</c:v>
                </c:pt>
                <c:pt idx="1543">
                  <c:v>43518</c:v>
                </c:pt>
                <c:pt idx="1544">
                  <c:v>43521</c:v>
                </c:pt>
                <c:pt idx="1545">
                  <c:v>43522</c:v>
                </c:pt>
                <c:pt idx="1546">
                  <c:v>43523</c:v>
                </c:pt>
                <c:pt idx="1547">
                  <c:v>43524</c:v>
                </c:pt>
                <c:pt idx="1548">
                  <c:v>43525</c:v>
                </c:pt>
                <c:pt idx="1549">
                  <c:v>43528</c:v>
                </c:pt>
                <c:pt idx="1550">
                  <c:v>43529</c:v>
                </c:pt>
                <c:pt idx="1551">
                  <c:v>43530</c:v>
                </c:pt>
                <c:pt idx="1552">
                  <c:v>43531</c:v>
                </c:pt>
                <c:pt idx="1553">
                  <c:v>43535</c:v>
                </c:pt>
                <c:pt idx="1554">
                  <c:v>43536</c:v>
                </c:pt>
                <c:pt idx="1555">
                  <c:v>43537</c:v>
                </c:pt>
                <c:pt idx="1556">
                  <c:v>43538</c:v>
                </c:pt>
                <c:pt idx="1557">
                  <c:v>43539</c:v>
                </c:pt>
                <c:pt idx="1558">
                  <c:v>43542</c:v>
                </c:pt>
                <c:pt idx="1559">
                  <c:v>43543</c:v>
                </c:pt>
                <c:pt idx="1560">
                  <c:v>43544</c:v>
                </c:pt>
                <c:pt idx="1561">
                  <c:v>43545</c:v>
                </c:pt>
                <c:pt idx="1562">
                  <c:v>43546</c:v>
                </c:pt>
                <c:pt idx="1563">
                  <c:v>43549</c:v>
                </c:pt>
                <c:pt idx="1564">
                  <c:v>43550</c:v>
                </c:pt>
                <c:pt idx="1565">
                  <c:v>43551</c:v>
                </c:pt>
                <c:pt idx="1566">
                  <c:v>43552</c:v>
                </c:pt>
                <c:pt idx="1567">
                  <c:v>43553</c:v>
                </c:pt>
                <c:pt idx="1568">
                  <c:v>43556</c:v>
                </c:pt>
                <c:pt idx="1569">
                  <c:v>43557</c:v>
                </c:pt>
                <c:pt idx="1570">
                  <c:v>43558</c:v>
                </c:pt>
                <c:pt idx="1571">
                  <c:v>43559</c:v>
                </c:pt>
                <c:pt idx="1572">
                  <c:v>43560</c:v>
                </c:pt>
                <c:pt idx="1573">
                  <c:v>43563</c:v>
                </c:pt>
                <c:pt idx="1574">
                  <c:v>43564</c:v>
                </c:pt>
                <c:pt idx="1575">
                  <c:v>43565</c:v>
                </c:pt>
                <c:pt idx="1576">
                  <c:v>43566</c:v>
                </c:pt>
                <c:pt idx="1577">
                  <c:v>43567</c:v>
                </c:pt>
                <c:pt idx="1578">
                  <c:v>43570</c:v>
                </c:pt>
                <c:pt idx="1579">
                  <c:v>43571</c:v>
                </c:pt>
                <c:pt idx="1580">
                  <c:v>43572</c:v>
                </c:pt>
                <c:pt idx="1581">
                  <c:v>43573</c:v>
                </c:pt>
                <c:pt idx="1582">
                  <c:v>43574</c:v>
                </c:pt>
                <c:pt idx="1583">
                  <c:v>43577</c:v>
                </c:pt>
                <c:pt idx="1584">
                  <c:v>43578</c:v>
                </c:pt>
                <c:pt idx="1585">
                  <c:v>43579</c:v>
                </c:pt>
                <c:pt idx="1586">
                  <c:v>43580</c:v>
                </c:pt>
                <c:pt idx="1587">
                  <c:v>43581</c:v>
                </c:pt>
                <c:pt idx="1588">
                  <c:v>43584</c:v>
                </c:pt>
                <c:pt idx="1589">
                  <c:v>43585</c:v>
                </c:pt>
                <c:pt idx="1590">
                  <c:v>43587</c:v>
                </c:pt>
                <c:pt idx="1591">
                  <c:v>43588</c:v>
                </c:pt>
                <c:pt idx="1592">
                  <c:v>43591</c:v>
                </c:pt>
                <c:pt idx="1593">
                  <c:v>43592</c:v>
                </c:pt>
                <c:pt idx="1594">
                  <c:v>43593</c:v>
                </c:pt>
                <c:pt idx="1595">
                  <c:v>43595</c:v>
                </c:pt>
                <c:pt idx="1596">
                  <c:v>43598</c:v>
                </c:pt>
                <c:pt idx="1597">
                  <c:v>43599</c:v>
                </c:pt>
                <c:pt idx="1598">
                  <c:v>43600</c:v>
                </c:pt>
                <c:pt idx="1599">
                  <c:v>43601</c:v>
                </c:pt>
                <c:pt idx="1600">
                  <c:v>43602</c:v>
                </c:pt>
                <c:pt idx="1601">
                  <c:v>43605</c:v>
                </c:pt>
                <c:pt idx="1602">
                  <c:v>43606</c:v>
                </c:pt>
                <c:pt idx="1603">
                  <c:v>43607</c:v>
                </c:pt>
                <c:pt idx="1604">
                  <c:v>43608</c:v>
                </c:pt>
                <c:pt idx="1605">
                  <c:v>43609</c:v>
                </c:pt>
                <c:pt idx="1606">
                  <c:v>43612</c:v>
                </c:pt>
                <c:pt idx="1607">
                  <c:v>43613</c:v>
                </c:pt>
                <c:pt idx="1608">
                  <c:v>43614</c:v>
                </c:pt>
                <c:pt idx="1609">
                  <c:v>43615</c:v>
                </c:pt>
                <c:pt idx="1610">
                  <c:v>43616</c:v>
                </c:pt>
                <c:pt idx="1611">
                  <c:v>43619</c:v>
                </c:pt>
                <c:pt idx="1612">
                  <c:v>43620</c:v>
                </c:pt>
                <c:pt idx="1613">
                  <c:v>43621</c:v>
                </c:pt>
                <c:pt idx="1614">
                  <c:v>43622</c:v>
                </c:pt>
                <c:pt idx="1615">
                  <c:v>43623</c:v>
                </c:pt>
                <c:pt idx="1616">
                  <c:v>43626</c:v>
                </c:pt>
                <c:pt idx="1617">
                  <c:v>43627</c:v>
                </c:pt>
                <c:pt idx="1618">
                  <c:v>43629</c:v>
                </c:pt>
                <c:pt idx="1619">
                  <c:v>43630</c:v>
                </c:pt>
                <c:pt idx="1620">
                  <c:v>43633</c:v>
                </c:pt>
                <c:pt idx="1621">
                  <c:v>43634</c:v>
                </c:pt>
                <c:pt idx="1622">
                  <c:v>43635</c:v>
                </c:pt>
                <c:pt idx="1623">
                  <c:v>43636</c:v>
                </c:pt>
                <c:pt idx="1624">
                  <c:v>43637</c:v>
                </c:pt>
                <c:pt idx="1625">
                  <c:v>43640</c:v>
                </c:pt>
                <c:pt idx="1626">
                  <c:v>43641</c:v>
                </c:pt>
                <c:pt idx="1627">
                  <c:v>43642</c:v>
                </c:pt>
                <c:pt idx="1628">
                  <c:v>43643</c:v>
                </c:pt>
                <c:pt idx="1629">
                  <c:v>43644</c:v>
                </c:pt>
                <c:pt idx="1630">
                  <c:v>43647</c:v>
                </c:pt>
                <c:pt idx="1631">
                  <c:v>43648</c:v>
                </c:pt>
                <c:pt idx="1632">
                  <c:v>43649</c:v>
                </c:pt>
                <c:pt idx="1633">
                  <c:v>43650</c:v>
                </c:pt>
                <c:pt idx="1634">
                  <c:v>43651</c:v>
                </c:pt>
                <c:pt idx="1635">
                  <c:v>43654</c:v>
                </c:pt>
                <c:pt idx="1636">
                  <c:v>43655</c:v>
                </c:pt>
                <c:pt idx="1637">
                  <c:v>43656</c:v>
                </c:pt>
                <c:pt idx="1638">
                  <c:v>43657</c:v>
                </c:pt>
                <c:pt idx="1639">
                  <c:v>43658</c:v>
                </c:pt>
                <c:pt idx="1640">
                  <c:v>43661</c:v>
                </c:pt>
                <c:pt idx="1641">
                  <c:v>43662</c:v>
                </c:pt>
                <c:pt idx="1642">
                  <c:v>43663</c:v>
                </c:pt>
                <c:pt idx="1643">
                  <c:v>43664</c:v>
                </c:pt>
                <c:pt idx="1644">
                  <c:v>43665</c:v>
                </c:pt>
                <c:pt idx="1645">
                  <c:v>43668</c:v>
                </c:pt>
                <c:pt idx="1646">
                  <c:v>43669</c:v>
                </c:pt>
                <c:pt idx="1647">
                  <c:v>43670</c:v>
                </c:pt>
                <c:pt idx="1648">
                  <c:v>43671</c:v>
                </c:pt>
                <c:pt idx="1649">
                  <c:v>43672</c:v>
                </c:pt>
                <c:pt idx="1650">
                  <c:v>43675</c:v>
                </c:pt>
                <c:pt idx="1651">
                  <c:v>43676</c:v>
                </c:pt>
                <c:pt idx="1652">
                  <c:v>43677</c:v>
                </c:pt>
                <c:pt idx="1653">
                  <c:v>43678</c:v>
                </c:pt>
                <c:pt idx="1654">
                  <c:v>43679</c:v>
                </c:pt>
                <c:pt idx="1655">
                  <c:v>43682</c:v>
                </c:pt>
                <c:pt idx="1656">
                  <c:v>43683</c:v>
                </c:pt>
                <c:pt idx="1657">
                  <c:v>43684</c:v>
                </c:pt>
                <c:pt idx="1658">
                  <c:v>43685</c:v>
                </c:pt>
                <c:pt idx="1659">
                  <c:v>43686</c:v>
                </c:pt>
                <c:pt idx="1660">
                  <c:v>43689</c:v>
                </c:pt>
                <c:pt idx="1661">
                  <c:v>43690</c:v>
                </c:pt>
                <c:pt idx="1662">
                  <c:v>43691</c:v>
                </c:pt>
                <c:pt idx="1663">
                  <c:v>43692</c:v>
                </c:pt>
                <c:pt idx="1664">
                  <c:v>43693</c:v>
                </c:pt>
                <c:pt idx="1665">
                  <c:v>43696</c:v>
                </c:pt>
                <c:pt idx="1666">
                  <c:v>43697</c:v>
                </c:pt>
                <c:pt idx="1667">
                  <c:v>43698</c:v>
                </c:pt>
                <c:pt idx="1668">
                  <c:v>43699</c:v>
                </c:pt>
                <c:pt idx="1669">
                  <c:v>43700</c:v>
                </c:pt>
                <c:pt idx="1670">
                  <c:v>43703</c:v>
                </c:pt>
                <c:pt idx="1671">
                  <c:v>43704</c:v>
                </c:pt>
                <c:pt idx="1672">
                  <c:v>43705</c:v>
                </c:pt>
                <c:pt idx="1673">
                  <c:v>43706</c:v>
                </c:pt>
                <c:pt idx="1674">
                  <c:v>43707</c:v>
                </c:pt>
                <c:pt idx="1675">
                  <c:v>43710</c:v>
                </c:pt>
                <c:pt idx="1676">
                  <c:v>43711</c:v>
                </c:pt>
                <c:pt idx="1677">
                  <c:v>43712</c:v>
                </c:pt>
                <c:pt idx="1678">
                  <c:v>43713</c:v>
                </c:pt>
                <c:pt idx="1679">
                  <c:v>43714</c:v>
                </c:pt>
                <c:pt idx="1680">
                  <c:v>43717</c:v>
                </c:pt>
                <c:pt idx="1681">
                  <c:v>43718</c:v>
                </c:pt>
                <c:pt idx="1682">
                  <c:v>43719</c:v>
                </c:pt>
                <c:pt idx="1683">
                  <c:v>43720</c:v>
                </c:pt>
                <c:pt idx="1684">
                  <c:v>43721</c:v>
                </c:pt>
                <c:pt idx="1685">
                  <c:v>43724</c:v>
                </c:pt>
                <c:pt idx="1686">
                  <c:v>43725</c:v>
                </c:pt>
                <c:pt idx="1687">
                  <c:v>43726</c:v>
                </c:pt>
                <c:pt idx="1688">
                  <c:v>43727</c:v>
                </c:pt>
                <c:pt idx="1689">
                  <c:v>43728</c:v>
                </c:pt>
                <c:pt idx="1690">
                  <c:v>43731</c:v>
                </c:pt>
                <c:pt idx="1691">
                  <c:v>43732</c:v>
                </c:pt>
                <c:pt idx="1692">
                  <c:v>43733</c:v>
                </c:pt>
                <c:pt idx="1693">
                  <c:v>43734</c:v>
                </c:pt>
                <c:pt idx="1694">
                  <c:v>43735</c:v>
                </c:pt>
                <c:pt idx="1695">
                  <c:v>43738</c:v>
                </c:pt>
                <c:pt idx="1696">
                  <c:v>43739</c:v>
                </c:pt>
                <c:pt idx="1697">
                  <c:v>43740</c:v>
                </c:pt>
                <c:pt idx="1698">
                  <c:v>43741</c:v>
                </c:pt>
                <c:pt idx="1699">
                  <c:v>43742</c:v>
                </c:pt>
                <c:pt idx="1700">
                  <c:v>43745</c:v>
                </c:pt>
                <c:pt idx="1701">
                  <c:v>43746</c:v>
                </c:pt>
                <c:pt idx="1702">
                  <c:v>43747</c:v>
                </c:pt>
                <c:pt idx="1703">
                  <c:v>43748</c:v>
                </c:pt>
                <c:pt idx="1704">
                  <c:v>43749</c:v>
                </c:pt>
                <c:pt idx="1705">
                  <c:v>43752</c:v>
                </c:pt>
                <c:pt idx="1706">
                  <c:v>43753</c:v>
                </c:pt>
                <c:pt idx="1707">
                  <c:v>43754</c:v>
                </c:pt>
                <c:pt idx="1708">
                  <c:v>43755</c:v>
                </c:pt>
                <c:pt idx="1709">
                  <c:v>43756</c:v>
                </c:pt>
                <c:pt idx="1710">
                  <c:v>43759</c:v>
                </c:pt>
                <c:pt idx="1711">
                  <c:v>43760</c:v>
                </c:pt>
                <c:pt idx="1712">
                  <c:v>43761</c:v>
                </c:pt>
                <c:pt idx="1713">
                  <c:v>43762</c:v>
                </c:pt>
                <c:pt idx="1714">
                  <c:v>43763</c:v>
                </c:pt>
                <c:pt idx="1715">
                  <c:v>43766</c:v>
                </c:pt>
                <c:pt idx="1716">
                  <c:v>43767</c:v>
                </c:pt>
                <c:pt idx="1717">
                  <c:v>43768</c:v>
                </c:pt>
                <c:pt idx="1718">
                  <c:v>43769</c:v>
                </c:pt>
                <c:pt idx="1719">
                  <c:v>43770</c:v>
                </c:pt>
                <c:pt idx="1720">
                  <c:v>43774</c:v>
                </c:pt>
                <c:pt idx="1721">
                  <c:v>43775</c:v>
                </c:pt>
                <c:pt idx="1722">
                  <c:v>43776</c:v>
                </c:pt>
                <c:pt idx="1723">
                  <c:v>43777</c:v>
                </c:pt>
                <c:pt idx="1724">
                  <c:v>43780</c:v>
                </c:pt>
                <c:pt idx="1725">
                  <c:v>43781</c:v>
                </c:pt>
                <c:pt idx="1726">
                  <c:v>43782</c:v>
                </c:pt>
                <c:pt idx="1727">
                  <c:v>43783</c:v>
                </c:pt>
                <c:pt idx="1728">
                  <c:v>43784</c:v>
                </c:pt>
                <c:pt idx="1729">
                  <c:v>43787</c:v>
                </c:pt>
                <c:pt idx="1730">
                  <c:v>43788</c:v>
                </c:pt>
                <c:pt idx="1731">
                  <c:v>43789</c:v>
                </c:pt>
                <c:pt idx="1732">
                  <c:v>43790</c:v>
                </c:pt>
                <c:pt idx="1733">
                  <c:v>43791</c:v>
                </c:pt>
                <c:pt idx="1734">
                  <c:v>43794</c:v>
                </c:pt>
                <c:pt idx="1735">
                  <c:v>43795</c:v>
                </c:pt>
                <c:pt idx="1736">
                  <c:v>43796</c:v>
                </c:pt>
                <c:pt idx="1737">
                  <c:v>43797</c:v>
                </c:pt>
                <c:pt idx="1738">
                  <c:v>43798</c:v>
                </c:pt>
                <c:pt idx="1739">
                  <c:v>43801</c:v>
                </c:pt>
                <c:pt idx="1740">
                  <c:v>43802</c:v>
                </c:pt>
                <c:pt idx="1741">
                  <c:v>43803</c:v>
                </c:pt>
                <c:pt idx="1742">
                  <c:v>43804</c:v>
                </c:pt>
                <c:pt idx="1743">
                  <c:v>43805</c:v>
                </c:pt>
                <c:pt idx="1744">
                  <c:v>43808</c:v>
                </c:pt>
                <c:pt idx="1745">
                  <c:v>43809</c:v>
                </c:pt>
                <c:pt idx="1746">
                  <c:v>43810</c:v>
                </c:pt>
                <c:pt idx="1747">
                  <c:v>43811</c:v>
                </c:pt>
                <c:pt idx="1748">
                  <c:v>43812</c:v>
                </c:pt>
                <c:pt idx="1749">
                  <c:v>43815</c:v>
                </c:pt>
                <c:pt idx="1750">
                  <c:v>43816</c:v>
                </c:pt>
                <c:pt idx="1751">
                  <c:v>43817</c:v>
                </c:pt>
                <c:pt idx="1752">
                  <c:v>43818</c:v>
                </c:pt>
                <c:pt idx="1753">
                  <c:v>43819</c:v>
                </c:pt>
                <c:pt idx="1754">
                  <c:v>43822</c:v>
                </c:pt>
                <c:pt idx="1755">
                  <c:v>43823</c:v>
                </c:pt>
                <c:pt idx="1756">
                  <c:v>43824</c:v>
                </c:pt>
                <c:pt idx="1757">
                  <c:v>43825</c:v>
                </c:pt>
                <c:pt idx="1758">
                  <c:v>43826</c:v>
                </c:pt>
                <c:pt idx="1759">
                  <c:v>43829</c:v>
                </c:pt>
                <c:pt idx="1760">
                  <c:v>43833</c:v>
                </c:pt>
                <c:pt idx="1761">
                  <c:v>43836</c:v>
                </c:pt>
                <c:pt idx="1762">
                  <c:v>43838</c:v>
                </c:pt>
                <c:pt idx="1763">
                  <c:v>43839</c:v>
                </c:pt>
                <c:pt idx="1764">
                  <c:v>43840</c:v>
                </c:pt>
                <c:pt idx="1765">
                  <c:v>43843</c:v>
                </c:pt>
                <c:pt idx="1766">
                  <c:v>43844</c:v>
                </c:pt>
                <c:pt idx="1767">
                  <c:v>43845</c:v>
                </c:pt>
                <c:pt idx="1768">
                  <c:v>43846</c:v>
                </c:pt>
                <c:pt idx="1769">
                  <c:v>43847</c:v>
                </c:pt>
                <c:pt idx="1770">
                  <c:v>43850</c:v>
                </c:pt>
                <c:pt idx="1771">
                  <c:v>43851</c:v>
                </c:pt>
                <c:pt idx="1772">
                  <c:v>43852</c:v>
                </c:pt>
                <c:pt idx="1773">
                  <c:v>43853</c:v>
                </c:pt>
                <c:pt idx="1774">
                  <c:v>43854</c:v>
                </c:pt>
                <c:pt idx="1775">
                  <c:v>43857</c:v>
                </c:pt>
                <c:pt idx="1776">
                  <c:v>43858</c:v>
                </c:pt>
                <c:pt idx="1777">
                  <c:v>43859</c:v>
                </c:pt>
                <c:pt idx="1778">
                  <c:v>43860</c:v>
                </c:pt>
                <c:pt idx="1779">
                  <c:v>43861</c:v>
                </c:pt>
                <c:pt idx="1780">
                  <c:v>43864</c:v>
                </c:pt>
                <c:pt idx="1781">
                  <c:v>43865</c:v>
                </c:pt>
                <c:pt idx="1782">
                  <c:v>43866</c:v>
                </c:pt>
                <c:pt idx="1783">
                  <c:v>43867</c:v>
                </c:pt>
                <c:pt idx="1784">
                  <c:v>43868</c:v>
                </c:pt>
                <c:pt idx="1785">
                  <c:v>43871</c:v>
                </c:pt>
                <c:pt idx="1786">
                  <c:v>43872</c:v>
                </c:pt>
                <c:pt idx="1787">
                  <c:v>43873</c:v>
                </c:pt>
                <c:pt idx="1788">
                  <c:v>43874</c:v>
                </c:pt>
                <c:pt idx="1789">
                  <c:v>43875</c:v>
                </c:pt>
                <c:pt idx="1790">
                  <c:v>43878</c:v>
                </c:pt>
                <c:pt idx="1791">
                  <c:v>43879</c:v>
                </c:pt>
                <c:pt idx="1792">
                  <c:v>43880</c:v>
                </c:pt>
                <c:pt idx="1793">
                  <c:v>43881</c:v>
                </c:pt>
                <c:pt idx="1794">
                  <c:v>43882</c:v>
                </c:pt>
                <c:pt idx="1795">
                  <c:v>43886</c:v>
                </c:pt>
                <c:pt idx="1796">
                  <c:v>43887</c:v>
                </c:pt>
                <c:pt idx="1797">
                  <c:v>43888</c:v>
                </c:pt>
                <c:pt idx="1798">
                  <c:v>43889</c:v>
                </c:pt>
                <c:pt idx="1799">
                  <c:v>43892</c:v>
                </c:pt>
                <c:pt idx="1800">
                  <c:v>43893</c:v>
                </c:pt>
                <c:pt idx="1801">
                  <c:v>43894</c:v>
                </c:pt>
                <c:pt idx="1802">
                  <c:v>43895</c:v>
                </c:pt>
                <c:pt idx="1803">
                  <c:v>43896</c:v>
                </c:pt>
                <c:pt idx="1804">
                  <c:v>43900</c:v>
                </c:pt>
                <c:pt idx="1805">
                  <c:v>43901</c:v>
                </c:pt>
                <c:pt idx="1806">
                  <c:v>43902</c:v>
                </c:pt>
                <c:pt idx="1807">
                  <c:v>43903</c:v>
                </c:pt>
                <c:pt idx="1808">
                  <c:v>43906</c:v>
                </c:pt>
                <c:pt idx="1809">
                  <c:v>43907</c:v>
                </c:pt>
                <c:pt idx="1810">
                  <c:v>43908</c:v>
                </c:pt>
                <c:pt idx="1811">
                  <c:v>43909</c:v>
                </c:pt>
                <c:pt idx="1812">
                  <c:v>43910</c:v>
                </c:pt>
                <c:pt idx="1813">
                  <c:v>43913</c:v>
                </c:pt>
                <c:pt idx="1814">
                  <c:v>43914</c:v>
                </c:pt>
                <c:pt idx="1815">
                  <c:v>43915</c:v>
                </c:pt>
                <c:pt idx="1816">
                  <c:v>43916</c:v>
                </c:pt>
                <c:pt idx="1817">
                  <c:v>43917</c:v>
                </c:pt>
                <c:pt idx="1818">
                  <c:v>43920</c:v>
                </c:pt>
                <c:pt idx="1819">
                  <c:v>43921</c:v>
                </c:pt>
                <c:pt idx="1820">
                  <c:v>43922</c:v>
                </c:pt>
                <c:pt idx="1821">
                  <c:v>43923</c:v>
                </c:pt>
                <c:pt idx="1822">
                  <c:v>43924</c:v>
                </c:pt>
                <c:pt idx="1823">
                  <c:v>43927</c:v>
                </c:pt>
                <c:pt idx="1824">
                  <c:v>43928</c:v>
                </c:pt>
                <c:pt idx="1825">
                  <c:v>43929</c:v>
                </c:pt>
                <c:pt idx="1826">
                  <c:v>43930</c:v>
                </c:pt>
                <c:pt idx="1827">
                  <c:v>43931</c:v>
                </c:pt>
                <c:pt idx="1828">
                  <c:v>43934</c:v>
                </c:pt>
                <c:pt idx="1829">
                  <c:v>43935</c:v>
                </c:pt>
                <c:pt idx="1830">
                  <c:v>43936</c:v>
                </c:pt>
                <c:pt idx="1831">
                  <c:v>43937</c:v>
                </c:pt>
                <c:pt idx="1832">
                  <c:v>43938</c:v>
                </c:pt>
                <c:pt idx="1833">
                  <c:v>43941</c:v>
                </c:pt>
                <c:pt idx="1834">
                  <c:v>43942</c:v>
                </c:pt>
                <c:pt idx="1835">
                  <c:v>43943</c:v>
                </c:pt>
                <c:pt idx="1836">
                  <c:v>43944</c:v>
                </c:pt>
                <c:pt idx="1837">
                  <c:v>43945</c:v>
                </c:pt>
                <c:pt idx="1838">
                  <c:v>43948</c:v>
                </c:pt>
                <c:pt idx="1839">
                  <c:v>43949</c:v>
                </c:pt>
                <c:pt idx="1840">
                  <c:v>43950</c:v>
                </c:pt>
                <c:pt idx="1841">
                  <c:v>43951</c:v>
                </c:pt>
                <c:pt idx="1842">
                  <c:v>43955</c:v>
                </c:pt>
                <c:pt idx="1843">
                  <c:v>43956</c:v>
                </c:pt>
                <c:pt idx="1844">
                  <c:v>43957</c:v>
                </c:pt>
                <c:pt idx="1845">
                  <c:v>43958</c:v>
                </c:pt>
                <c:pt idx="1846">
                  <c:v>43959</c:v>
                </c:pt>
                <c:pt idx="1847">
                  <c:v>43963</c:v>
                </c:pt>
                <c:pt idx="1848">
                  <c:v>43964</c:v>
                </c:pt>
                <c:pt idx="1849">
                  <c:v>43965</c:v>
                </c:pt>
                <c:pt idx="1850">
                  <c:v>43966</c:v>
                </c:pt>
                <c:pt idx="1851">
                  <c:v>43969</c:v>
                </c:pt>
                <c:pt idx="1852">
                  <c:v>43970</c:v>
                </c:pt>
                <c:pt idx="1853">
                  <c:v>43971</c:v>
                </c:pt>
                <c:pt idx="1854">
                  <c:v>43972</c:v>
                </c:pt>
                <c:pt idx="1855">
                  <c:v>43973</c:v>
                </c:pt>
                <c:pt idx="1856">
                  <c:v>43976</c:v>
                </c:pt>
                <c:pt idx="1857">
                  <c:v>43977</c:v>
                </c:pt>
                <c:pt idx="1858">
                  <c:v>43978</c:v>
                </c:pt>
                <c:pt idx="1859">
                  <c:v>43979</c:v>
                </c:pt>
                <c:pt idx="1860">
                  <c:v>43980</c:v>
                </c:pt>
                <c:pt idx="1861">
                  <c:v>43983</c:v>
                </c:pt>
                <c:pt idx="1862">
                  <c:v>43984</c:v>
                </c:pt>
                <c:pt idx="1863">
                  <c:v>43985</c:v>
                </c:pt>
                <c:pt idx="1864">
                  <c:v>43986</c:v>
                </c:pt>
                <c:pt idx="1865">
                  <c:v>43987</c:v>
                </c:pt>
                <c:pt idx="1866">
                  <c:v>43990</c:v>
                </c:pt>
                <c:pt idx="1867">
                  <c:v>43991</c:v>
                </c:pt>
                <c:pt idx="1868">
                  <c:v>43992</c:v>
                </c:pt>
                <c:pt idx="1869">
                  <c:v>43993</c:v>
                </c:pt>
                <c:pt idx="1870">
                  <c:v>43997</c:v>
                </c:pt>
                <c:pt idx="1871">
                  <c:v>43998</c:v>
                </c:pt>
                <c:pt idx="1872">
                  <c:v>43999</c:v>
                </c:pt>
                <c:pt idx="1873">
                  <c:v>44000</c:v>
                </c:pt>
                <c:pt idx="1874">
                  <c:v>44001</c:v>
                </c:pt>
                <c:pt idx="1875">
                  <c:v>44004</c:v>
                </c:pt>
                <c:pt idx="1876">
                  <c:v>44005</c:v>
                </c:pt>
                <c:pt idx="1877">
                  <c:v>44007</c:v>
                </c:pt>
                <c:pt idx="1878">
                  <c:v>44008</c:v>
                </c:pt>
                <c:pt idx="1879">
                  <c:v>44011</c:v>
                </c:pt>
                <c:pt idx="1880">
                  <c:v>44012</c:v>
                </c:pt>
                <c:pt idx="1881">
                  <c:v>44014</c:v>
                </c:pt>
                <c:pt idx="1882">
                  <c:v>44015</c:v>
                </c:pt>
                <c:pt idx="1883">
                  <c:v>44018</c:v>
                </c:pt>
                <c:pt idx="1884">
                  <c:v>44019</c:v>
                </c:pt>
                <c:pt idx="1885">
                  <c:v>44020</c:v>
                </c:pt>
                <c:pt idx="1886">
                  <c:v>44021</c:v>
                </c:pt>
                <c:pt idx="1887">
                  <c:v>44022</c:v>
                </c:pt>
                <c:pt idx="1888">
                  <c:v>44025</c:v>
                </c:pt>
                <c:pt idx="1889">
                  <c:v>44026</c:v>
                </c:pt>
                <c:pt idx="1890">
                  <c:v>44027</c:v>
                </c:pt>
                <c:pt idx="1891">
                  <c:v>44028</c:v>
                </c:pt>
                <c:pt idx="1892">
                  <c:v>44029</c:v>
                </c:pt>
                <c:pt idx="1893">
                  <c:v>44032</c:v>
                </c:pt>
                <c:pt idx="1894">
                  <c:v>44033</c:v>
                </c:pt>
                <c:pt idx="1895">
                  <c:v>44034</c:v>
                </c:pt>
                <c:pt idx="1896">
                  <c:v>44035</c:v>
                </c:pt>
                <c:pt idx="1897">
                  <c:v>44036</c:v>
                </c:pt>
                <c:pt idx="1898">
                  <c:v>44039</c:v>
                </c:pt>
                <c:pt idx="1899">
                  <c:v>44040</c:v>
                </c:pt>
                <c:pt idx="1900">
                  <c:v>44041</c:v>
                </c:pt>
                <c:pt idx="1901">
                  <c:v>44042</c:v>
                </c:pt>
                <c:pt idx="1902">
                  <c:v>44043</c:v>
                </c:pt>
                <c:pt idx="1903">
                  <c:v>44046</c:v>
                </c:pt>
                <c:pt idx="1904">
                  <c:v>44047</c:v>
                </c:pt>
                <c:pt idx="1905">
                  <c:v>44048</c:v>
                </c:pt>
                <c:pt idx="1906">
                  <c:v>44049</c:v>
                </c:pt>
                <c:pt idx="1907">
                  <c:v>44050</c:v>
                </c:pt>
                <c:pt idx="1908">
                  <c:v>44053</c:v>
                </c:pt>
                <c:pt idx="1909">
                  <c:v>44054</c:v>
                </c:pt>
                <c:pt idx="1910">
                  <c:v>44055</c:v>
                </c:pt>
                <c:pt idx="1911">
                  <c:v>44056</c:v>
                </c:pt>
                <c:pt idx="1912">
                  <c:v>44057</c:v>
                </c:pt>
                <c:pt idx="1913">
                  <c:v>44060</c:v>
                </c:pt>
                <c:pt idx="1914">
                  <c:v>44061</c:v>
                </c:pt>
                <c:pt idx="1915">
                  <c:v>44062</c:v>
                </c:pt>
                <c:pt idx="1916">
                  <c:v>44063</c:v>
                </c:pt>
                <c:pt idx="1917">
                  <c:v>44064</c:v>
                </c:pt>
                <c:pt idx="1918">
                  <c:v>44067</c:v>
                </c:pt>
                <c:pt idx="1919">
                  <c:v>44068</c:v>
                </c:pt>
                <c:pt idx="1920">
                  <c:v>44069</c:v>
                </c:pt>
                <c:pt idx="1921">
                  <c:v>44070</c:v>
                </c:pt>
                <c:pt idx="1922">
                  <c:v>44071</c:v>
                </c:pt>
                <c:pt idx="1923">
                  <c:v>44074</c:v>
                </c:pt>
                <c:pt idx="1924">
                  <c:v>44075</c:v>
                </c:pt>
                <c:pt idx="1925">
                  <c:v>44076</c:v>
                </c:pt>
                <c:pt idx="1926">
                  <c:v>44077</c:v>
                </c:pt>
                <c:pt idx="1927">
                  <c:v>44078</c:v>
                </c:pt>
                <c:pt idx="1928">
                  <c:v>44081</c:v>
                </c:pt>
                <c:pt idx="1929">
                  <c:v>44082</c:v>
                </c:pt>
                <c:pt idx="1930">
                  <c:v>44083</c:v>
                </c:pt>
                <c:pt idx="1931">
                  <c:v>44084</c:v>
                </c:pt>
                <c:pt idx="1932">
                  <c:v>44085</c:v>
                </c:pt>
                <c:pt idx="1933">
                  <c:v>44088</c:v>
                </c:pt>
                <c:pt idx="1934">
                  <c:v>44089</c:v>
                </c:pt>
                <c:pt idx="1935">
                  <c:v>44090</c:v>
                </c:pt>
                <c:pt idx="1936">
                  <c:v>44091</c:v>
                </c:pt>
                <c:pt idx="1937">
                  <c:v>44092</c:v>
                </c:pt>
                <c:pt idx="1938">
                  <c:v>44095</c:v>
                </c:pt>
                <c:pt idx="1939">
                  <c:v>44096</c:v>
                </c:pt>
                <c:pt idx="1940">
                  <c:v>44097</c:v>
                </c:pt>
                <c:pt idx="1941">
                  <c:v>44098</c:v>
                </c:pt>
                <c:pt idx="1942">
                  <c:v>44099</c:v>
                </c:pt>
                <c:pt idx="1943">
                  <c:v>44102</c:v>
                </c:pt>
                <c:pt idx="1944">
                  <c:v>44103</c:v>
                </c:pt>
                <c:pt idx="1945">
                  <c:v>44104</c:v>
                </c:pt>
                <c:pt idx="1946">
                  <c:v>44105</c:v>
                </c:pt>
                <c:pt idx="1947">
                  <c:v>44106</c:v>
                </c:pt>
                <c:pt idx="1948">
                  <c:v>44109</c:v>
                </c:pt>
                <c:pt idx="1949">
                  <c:v>44110</c:v>
                </c:pt>
                <c:pt idx="1950">
                  <c:v>44111</c:v>
                </c:pt>
                <c:pt idx="1951">
                  <c:v>44112</c:v>
                </c:pt>
                <c:pt idx="1952">
                  <c:v>44113</c:v>
                </c:pt>
                <c:pt idx="1953">
                  <c:v>44116</c:v>
                </c:pt>
                <c:pt idx="1954">
                  <c:v>44117</c:v>
                </c:pt>
                <c:pt idx="1955">
                  <c:v>44118</c:v>
                </c:pt>
                <c:pt idx="1956">
                  <c:v>44119</c:v>
                </c:pt>
                <c:pt idx="1957">
                  <c:v>44120</c:v>
                </c:pt>
                <c:pt idx="1958">
                  <c:v>44123</c:v>
                </c:pt>
                <c:pt idx="1959">
                  <c:v>44124</c:v>
                </c:pt>
                <c:pt idx="1960">
                  <c:v>44125</c:v>
                </c:pt>
                <c:pt idx="1961">
                  <c:v>44126</c:v>
                </c:pt>
                <c:pt idx="1962">
                  <c:v>44127</c:v>
                </c:pt>
                <c:pt idx="1963">
                  <c:v>44130</c:v>
                </c:pt>
                <c:pt idx="1964">
                  <c:v>44131</c:v>
                </c:pt>
                <c:pt idx="1965">
                  <c:v>44132</c:v>
                </c:pt>
                <c:pt idx="1966">
                  <c:v>44133</c:v>
                </c:pt>
                <c:pt idx="1967">
                  <c:v>44134</c:v>
                </c:pt>
                <c:pt idx="1968">
                  <c:v>44137</c:v>
                </c:pt>
                <c:pt idx="1969">
                  <c:v>44138</c:v>
                </c:pt>
                <c:pt idx="1970">
                  <c:v>44140</c:v>
                </c:pt>
                <c:pt idx="1971">
                  <c:v>44141</c:v>
                </c:pt>
                <c:pt idx="1972">
                  <c:v>44144</c:v>
                </c:pt>
                <c:pt idx="1973">
                  <c:v>44145</c:v>
                </c:pt>
                <c:pt idx="1974">
                  <c:v>44146</c:v>
                </c:pt>
                <c:pt idx="1975">
                  <c:v>44147</c:v>
                </c:pt>
                <c:pt idx="1976">
                  <c:v>44148</c:v>
                </c:pt>
                <c:pt idx="1977">
                  <c:v>44151</c:v>
                </c:pt>
                <c:pt idx="1978">
                  <c:v>44152</c:v>
                </c:pt>
                <c:pt idx="1979">
                  <c:v>44153</c:v>
                </c:pt>
                <c:pt idx="1980">
                  <c:v>44154</c:v>
                </c:pt>
                <c:pt idx="1981">
                  <c:v>44155</c:v>
                </c:pt>
                <c:pt idx="1982">
                  <c:v>44158</c:v>
                </c:pt>
                <c:pt idx="1983">
                  <c:v>44159</c:v>
                </c:pt>
                <c:pt idx="1984">
                  <c:v>44160</c:v>
                </c:pt>
                <c:pt idx="1985">
                  <c:v>44161</c:v>
                </c:pt>
                <c:pt idx="1986">
                  <c:v>44162</c:v>
                </c:pt>
                <c:pt idx="1987">
                  <c:v>44165</c:v>
                </c:pt>
                <c:pt idx="1988">
                  <c:v>44166</c:v>
                </c:pt>
                <c:pt idx="1989">
                  <c:v>44167</c:v>
                </c:pt>
                <c:pt idx="1990">
                  <c:v>44168</c:v>
                </c:pt>
                <c:pt idx="1991">
                  <c:v>44169</c:v>
                </c:pt>
                <c:pt idx="1992">
                  <c:v>44172</c:v>
                </c:pt>
                <c:pt idx="1993">
                  <c:v>44173</c:v>
                </c:pt>
                <c:pt idx="1994">
                  <c:v>44174</c:v>
                </c:pt>
                <c:pt idx="1995">
                  <c:v>44175</c:v>
                </c:pt>
                <c:pt idx="1996">
                  <c:v>44176</c:v>
                </c:pt>
                <c:pt idx="1997">
                  <c:v>44179</c:v>
                </c:pt>
                <c:pt idx="1998">
                  <c:v>44180</c:v>
                </c:pt>
                <c:pt idx="1999">
                  <c:v>44181</c:v>
                </c:pt>
                <c:pt idx="2000">
                  <c:v>44182</c:v>
                </c:pt>
                <c:pt idx="2001">
                  <c:v>44183</c:v>
                </c:pt>
                <c:pt idx="2002">
                  <c:v>44186</c:v>
                </c:pt>
                <c:pt idx="2003">
                  <c:v>44187</c:v>
                </c:pt>
                <c:pt idx="2004">
                  <c:v>44188</c:v>
                </c:pt>
                <c:pt idx="2005">
                  <c:v>44189</c:v>
                </c:pt>
                <c:pt idx="2006">
                  <c:v>44190</c:v>
                </c:pt>
                <c:pt idx="2007">
                  <c:v>44193</c:v>
                </c:pt>
                <c:pt idx="2008">
                  <c:v>44194</c:v>
                </c:pt>
                <c:pt idx="2009">
                  <c:v>44195</c:v>
                </c:pt>
                <c:pt idx="2010">
                  <c:v>44200</c:v>
                </c:pt>
                <c:pt idx="2011">
                  <c:v>44201</c:v>
                </c:pt>
                <c:pt idx="2012">
                  <c:v>44202</c:v>
                </c:pt>
                <c:pt idx="2013">
                  <c:v>44204</c:v>
                </c:pt>
                <c:pt idx="2014">
                  <c:v>44207</c:v>
                </c:pt>
                <c:pt idx="2015">
                  <c:v>44208</c:v>
                </c:pt>
                <c:pt idx="2016">
                  <c:v>44209</c:v>
                </c:pt>
                <c:pt idx="2017">
                  <c:v>44210</c:v>
                </c:pt>
                <c:pt idx="2018">
                  <c:v>44211</c:v>
                </c:pt>
                <c:pt idx="2019">
                  <c:v>44214</c:v>
                </c:pt>
                <c:pt idx="2020">
                  <c:v>44215</c:v>
                </c:pt>
                <c:pt idx="2021">
                  <c:v>44216</c:v>
                </c:pt>
                <c:pt idx="2022">
                  <c:v>44217</c:v>
                </c:pt>
                <c:pt idx="2023">
                  <c:v>44218</c:v>
                </c:pt>
                <c:pt idx="2024">
                  <c:v>44221</c:v>
                </c:pt>
                <c:pt idx="2025">
                  <c:v>44222</c:v>
                </c:pt>
                <c:pt idx="2026">
                  <c:v>44223</c:v>
                </c:pt>
                <c:pt idx="2027">
                  <c:v>44224</c:v>
                </c:pt>
                <c:pt idx="2028">
                  <c:v>44225</c:v>
                </c:pt>
                <c:pt idx="2029">
                  <c:v>44228</c:v>
                </c:pt>
                <c:pt idx="2030">
                  <c:v>44229</c:v>
                </c:pt>
                <c:pt idx="2031">
                  <c:v>44230</c:v>
                </c:pt>
                <c:pt idx="2032">
                  <c:v>44231</c:v>
                </c:pt>
                <c:pt idx="2033">
                  <c:v>44232</c:v>
                </c:pt>
                <c:pt idx="2034">
                  <c:v>44235</c:v>
                </c:pt>
                <c:pt idx="2035">
                  <c:v>44236</c:v>
                </c:pt>
                <c:pt idx="2036">
                  <c:v>44237</c:v>
                </c:pt>
                <c:pt idx="2037">
                  <c:v>44238</c:v>
                </c:pt>
                <c:pt idx="2038">
                  <c:v>44239</c:v>
                </c:pt>
                <c:pt idx="2039">
                  <c:v>44242</c:v>
                </c:pt>
                <c:pt idx="2040">
                  <c:v>44243</c:v>
                </c:pt>
                <c:pt idx="2041">
                  <c:v>44244</c:v>
                </c:pt>
                <c:pt idx="2042">
                  <c:v>44245</c:v>
                </c:pt>
                <c:pt idx="2043">
                  <c:v>44246</c:v>
                </c:pt>
                <c:pt idx="2044">
                  <c:v>44247</c:v>
                </c:pt>
                <c:pt idx="2045">
                  <c:v>44249</c:v>
                </c:pt>
                <c:pt idx="2046">
                  <c:v>44251</c:v>
                </c:pt>
                <c:pt idx="2047">
                  <c:v>44252</c:v>
                </c:pt>
                <c:pt idx="2048">
                  <c:v>44253</c:v>
                </c:pt>
                <c:pt idx="2049">
                  <c:v>44256</c:v>
                </c:pt>
                <c:pt idx="2050">
                  <c:v>44257</c:v>
                </c:pt>
                <c:pt idx="2051">
                  <c:v>44258</c:v>
                </c:pt>
                <c:pt idx="2052">
                  <c:v>44259</c:v>
                </c:pt>
                <c:pt idx="2053">
                  <c:v>44260</c:v>
                </c:pt>
                <c:pt idx="2054">
                  <c:v>44264</c:v>
                </c:pt>
                <c:pt idx="2055">
                  <c:v>44265</c:v>
                </c:pt>
                <c:pt idx="2056">
                  <c:v>44266</c:v>
                </c:pt>
                <c:pt idx="2057">
                  <c:v>44267</c:v>
                </c:pt>
                <c:pt idx="2058">
                  <c:v>44270</c:v>
                </c:pt>
                <c:pt idx="2059">
                  <c:v>44271</c:v>
                </c:pt>
                <c:pt idx="2060">
                  <c:v>44272</c:v>
                </c:pt>
                <c:pt idx="2061">
                  <c:v>44273</c:v>
                </c:pt>
                <c:pt idx="2062">
                  <c:v>44274</c:v>
                </c:pt>
                <c:pt idx="2063">
                  <c:v>44277</c:v>
                </c:pt>
                <c:pt idx="2064">
                  <c:v>44278</c:v>
                </c:pt>
                <c:pt idx="2065">
                  <c:v>44279</c:v>
                </c:pt>
                <c:pt idx="2066">
                  <c:v>44280</c:v>
                </c:pt>
                <c:pt idx="2067">
                  <c:v>44281</c:v>
                </c:pt>
                <c:pt idx="2068">
                  <c:v>44284</c:v>
                </c:pt>
                <c:pt idx="2069">
                  <c:v>44285</c:v>
                </c:pt>
                <c:pt idx="2070">
                  <c:v>44286</c:v>
                </c:pt>
                <c:pt idx="2071">
                  <c:v>44287</c:v>
                </c:pt>
                <c:pt idx="2072">
                  <c:v>44288</c:v>
                </c:pt>
                <c:pt idx="2073">
                  <c:v>44291</c:v>
                </c:pt>
                <c:pt idx="2074">
                  <c:v>44292</c:v>
                </c:pt>
                <c:pt idx="2075">
                  <c:v>44293</c:v>
                </c:pt>
                <c:pt idx="2076">
                  <c:v>44294</c:v>
                </c:pt>
                <c:pt idx="2077">
                  <c:v>44295</c:v>
                </c:pt>
                <c:pt idx="2078">
                  <c:v>44298</c:v>
                </c:pt>
                <c:pt idx="2079">
                  <c:v>44299</c:v>
                </c:pt>
                <c:pt idx="2080">
                  <c:v>44300</c:v>
                </c:pt>
                <c:pt idx="2081">
                  <c:v>44301</c:v>
                </c:pt>
                <c:pt idx="2082">
                  <c:v>44302</c:v>
                </c:pt>
                <c:pt idx="2083">
                  <c:v>44305</c:v>
                </c:pt>
                <c:pt idx="2084">
                  <c:v>44306</c:v>
                </c:pt>
                <c:pt idx="2085">
                  <c:v>44307</c:v>
                </c:pt>
                <c:pt idx="2086">
                  <c:v>44308</c:v>
                </c:pt>
                <c:pt idx="2087">
                  <c:v>44309</c:v>
                </c:pt>
                <c:pt idx="2088">
                  <c:v>44312</c:v>
                </c:pt>
                <c:pt idx="2089">
                  <c:v>44313</c:v>
                </c:pt>
                <c:pt idx="2090">
                  <c:v>44314</c:v>
                </c:pt>
                <c:pt idx="2091">
                  <c:v>44315</c:v>
                </c:pt>
                <c:pt idx="2092">
                  <c:v>44316</c:v>
                </c:pt>
                <c:pt idx="2093">
                  <c:v>44320</c:v>
                </c:pt>
                <c:pt idx="2094">
                  <c:v>44321</c:v>
                </c:pt>
                <c:pt idx="2095">
                  <c:v>44322</c:v>
                </c:pt>
                <c:pt idx="2096">
                  <c:v>44323</c:v>
                </c:pt>
                <c:pt idx="2097">
                  <c:v>44326</c:v>
                </c:pt>
                <c:pt idx="2098">
                  <c:v>44327</c:v>
                </c:pt>
                <c:pt idx="2099">
                  <c:v>44328</c:v>
                </c:pt>
                <c:pt idx="2100">
                  <c:v>44329</c:v>
                </c:pt>
                <c:pt idx="2101">
                  <c:v>44330</c:v>
                </c:pt>
                <c:pt idx="2102">
                  <c:v>44333</c:v>
                </c:pt>
                <c:pt idx="2103">
                  <c:v>44334</c:v>
                </c:pt>
                <c:pt idx="2104">
                  <c:v>44335</c:v>
                </c:pt>
                <c:pt idx="2105">
                  <c:v>44336</c:v>
                </c:pt>
                <c:pt idx="2106">
                  <c:v>44337</c:v>
                </c:pt>
                <c:pt idx="2107">
                  <c:v>44340</c:v>
                </c:pt>
                <c:pt idx="2108">
                  <c:v>44341</c:v>
                </c:pt>
                <c:pt idx="2109">
                  <c:v>44342</c:v>
                </c:pt>
                <c:pt idx="2110">
                  <c:v>44343</c:v>
                </c:pt>
                <c:pt idx="2111">
                  <c:v>44344</c:v>
                </c:pt>
                <c:pt idx="2112">
                  <c:v>44347</c:v>
                </c:pt>
                <c:pt idx="2113">
                  <c:v>44348</c:v>
                </c:pt>
                <c:pt idx="2114">
                  <c:v>44349</c:v>
                </c:pt>
                <c:pt idx="2115">
                  <c:v>44350</c:v>
                </c:pt>
                <c:pt idx="2116">
                  <c:v>44351</c:v>
                </c:pt>
                <c:pt idx="2117">
                  <c:v>44354</c:v>
                </c:pt>
                <c:pt idx="2118">
                  <c:v>44355</c:v>
                </c:pt>
                <c:pt idx="2119">
                  <c:v>44356</c:v>
                </c:pt>
                <c:pt idx="2120">
                  <c:v>44357</c:v>
                </c:pt>
                <c:pt idx="2121">
                  <c:v>44358</c:v>
                </c:pt>
                <c:pt idx="2122">
                  <c:v>44361</c:v>
                </c:pt>
                <c:pt idx="2123">
                  <c:v>44362</c:v>
                </c:pt>
                <c:pt idx="2124">
                  <c:v>44363</c:v>
                </c:pt>
                <c:pt idx="2125">
                  <c:v>44364</c:v>
                </c:pt>
                <c:pt idx="2126">
                  <c:v>44365</c:v>
                </c:pt>
                <c:pt idx="2127">
                  <c:v>44368</c:v>
                </c:pt>
                <c:pt idx="2128">
                  <c:v>44369</c:v>
                </c:pt>
                <c:pt idx="2129">
                  <c:v>44370</c:v>
                </c:pt>
                <c:pt idx="2130">
                  <c:v>44371</c:v>
                </c:pt>
                <c:pt idx="2131">
                  <c:v>44372</c:v>
                </c:pt>
                <c:pt idx="2132">
                  <c:v>44375</c:v>
                </c:pt>
                <c:pt idx="2133">
                  <c:v>44376</c:v>
                </c:pt>
                <c:pt idx="2134">
                  <c:v>44377</c:v>
                </c:pt>
                <c:pt idx="2135">
                  <c:v>44378</c:v>
                </c:pt>
                <c:pt idx="2136">
                  <c:v>44379</c:v>
                </c:pt>
                <c:pt idx="2137">
                  <c:v>44382</c:v>
                </c:pt>
                <c:pt idx="2138">
                  <c:v>44383</c:v>
                </c:pt>
                <c:pt idx="2139">
                  <c:v>44384</c:v>
                </c:pt>
                <c:pt idx="2140">
                  <c:v>44385</c:v>
                </c:pt>
                <c:pt idx="2141">
                  <c:v>44386</c:v>
                </c:pt>
                <c:pt idx="2142">
                  <c:v>44389</c:v>
                </c:pt>
                <c:pt idx="2143">
                  <c:v>44390</c:v>
                </c:pt>
                <c:pt idx="2144">
                  <c:v>44391</c:v>
                </c:pt>
                <c:pt idx="2145">
                  <c:v>44392</c:v>
                </c:pt>
                <c:pt idx="2146">
                  <c:v>44393</c:v>
                </c:pt>
                <c:pt idx="2147">
                  <c:v>44396</c:v>
                </c:pt>
                <c:pt idx="2148">
                  <c:v>44397</c:v>
                </c:pt>
                <c:pt idx="2149">
                  <c:v>44398</c:v>
                </c:pt>
              </c:numCache>
            </c:numRef>
          </c:cat>
          <c:val>
            <c:numRef>
              <c:f>Sheet1!$U$9:$U$2158</c:f>
              <c:numCache>
                <c:formatCode>General</c:formatCode>
                <c:ptCount val="2150"/>
                <c:pt idx="0">
                  <c:v>1.6468989999999999</c:v>
                </c:pt>
                <c:pt idx="1">
                  <c:v>1.3524229999999999</c:v>
                </c:pt>
                <c:pt idx="2">
                  <c:v>1.57155</c:v>
                </c:pt>
                <c:pt idx="3">
                  <c:v>1.448164</c:v>
                </c:pt>
                <c:pt idx="4">
                  <c:v>1.692205</c:v>
                </c:pt>
                <c:pt idx="5">
                  <c:v>1.8056829999999999</c:v>
                </c:pt>
                <c:pt idx="6">
                  <c:v>1.6188990000000001</c:v>
                </c:pt>
                <c:pt idx="7">
                  <c:v>1.7650060000000001</c:v>
                </c:pt>
                <c:pt idx="8">
                  <c:v>0</c:v>
                </c:pt>
                <c:pt idx="9">
                  <c:v>1.7546349999999999</c:v>
                </c:pt>
                <c:pt idx="10">
                  <c:v>1.662523</c:v>
                </c:pt>
                <c:pt idx="11">
                  <c:v>1.545582</c:v>
                </c:pt>
                <c:pt idx="12">
                  <c:v>1.693786</c:v>
                </c:pt>
                <c:pt idx="13">
                  <c:v>2.1309550000000002</c:v>
                </c:pt>
                <c:pt idx="14">
                  <c:v>1.5542940000000001</c:v>
                </c:pt>
                <c:pt idx="15">
                  <c:v>1.1924380000000001</c:v>
                </c:pt>
                <c:pt idx="16">
                  <c:v>1.306902</c:v>
                </c:pt>
                <c:pt idx="17">
                  <c:v>1.397024</c:v>
                </c:pt>
                <c:pt idx="18">
                  <c:v>1.2308539999999999</c:v>
                </c:pt>
                <c:pt idx="19">
                  <c:v>1.4359850000000001</c:v>
                </c:pt>
                <c:pt idx="20">
                  <c:v>1.3147629999999999</c:v>
                </c:pt>
                <c:pt idx="21">
                  <c:v>1.15191</c:v>
                </c:pt>
                <c:pt idx="22">
                  <c:v>1.5355220000000001</c:v>
                </c:pt>
                <c:pt idx="23">
                  <c:v>0.91371500000000005</c:v>
                </c:pt>
                <c:pt idx="24">
                  <c:v>0.98438899999999996</c:v>
                </c:pt>
                <c:pt idx="25">
                  <c:v>1.016618</c:v>
                </c:pt>
                <c:pt idx="26">
                  <c:v>1.350703</c:v>
                </c:pt>
                <c:pt idx="27">
                  <c:v>1.543981</c:v>
                </c:pt>
                <c:pt idx="28">
                  <c:v>0</c:v>
                </c:pt>
                <c:pt idx="29">
                  <c:v>1.2299279999999999</c:v>
                </c:pt>
                <c:pt idx="30">
                  <c:v>1.382396</c:v>
                </c:pt>
                <c:pt idx="31">
                  <c:v>2.2521439999999999</c:v>
                </c:pt>
                <c:pt idx="32">
                  <c:v>1.2507440000000001</c:v>
                </c:pt>
                <c:pt idx="33">
                  <c:v>1.1561980000000001</c:v>
                </c:pt>
                <c:pt idx="34">
                  <c:v>2.0376799999999999</c:v>
                </c:pt>
                <c:pt idx="35">
                  <c:v>1.277644</c:v>
                </c:pt>
                <c:pt idx="36">
                  <c:v>1.4467540000000001</c:v>
                </c:pt>
                <c:pt idx="37">
                  <c:v>1.7261740000000001</c:v>
                </c:pt>
                <c:pt idx="38">
                  <c:v>1.3005230000000001</c:v>
                </c:pt>
                <c:pt idx="39">
                  <c:v>1.3158510000000001</c:v>
                </c:pt>
                <c:pt idx="40">
                  <c:v>1.4145749999999999</c:v>
                </c:pt>
                <c:pt idx="41">
                  <c:v>1.2209829999999999</c:v>
                </c:pt>
                <c:pt idx="42">
                  <c:v>1.2050810000000001</c:v>
                </c:pt>
                <c:pt idx="43">
                  <c:v>1.3664909999999999</c:v>
                </c:pt>
                <c:pt idx="44">
                  <c:v>1.382574</c:v>
                </c:pt>
                <c:pt idx="45">
                  <c:v>1.4296279999999999</c:v>
                </c:pt>
                <c:pt idx="46">
                  <c:v>1.2728299999999999</c:v>
                </c:pt>
                <c:pt idx="47">
                  <c:v>1.947729</c:v>
                </c:pt>
                <c:pt idx="48">
                  <c:v>1.3606069999999999</c:v>
                </c:pt>
                <c:pt idx="49">
                  <c:v>2.0160550000000002</c:v>
                </c:pt>
                <c:pt idx="50">
                  <c:v>1.195133</c:v>
                </c:pt>
                <c:pt idx="51">
                  <c:v>1.5762700000000001</c:v>
                </c:pt>
                <c:pt idx="52">
                  <c:v>1.4741919999999999</c:v>
                </c:pt>
                <c:pt idx="53">
                  <c:v>1.416059</c:v>
                </c:pt>
                <c:pt idx="54">
                  <c:v>1.9001650000000001</c:v>
                </c:pt>
                <c:pt idx="55">
                  <c:v>1.855326</c:v>
                </c:pt>
                <c:pt idx="56">
                  <c:v>1.4349229999999999</c:v>
                </c:pt>
                <c:pt idx="57">
                  <c:v>0.95406100000000005</c:v>
                </c:pt>
                <c:pt idx="58">
                  <c:v>1.358527</c:v>
                </c:pt>
                <c:pt idx="59">
                  <c:v>1.7483089999999999</c:v>
                </c:pt>
                <c:pt idx="60">
                  <c:v>1.9328129999999999</c:v>
                </c:pt>
                <c:pt idx="61">
                  <c:v>1.3932690000000001</c:v>
                </c:pt>
                <c:pt idx="62">
                  <c:v>1.432472</c:v>
                </c:pt>
                <c:pt idx="63">
                  <c:v>1.2884359999999999</c:v>
                </c:pt>
                <c:pt idx="64">
                  <c:v>1.6127860000000001</c:v>
                </c:pt>
                <c:pt idx="65">
                  <c:v>1.573504</c:v>
                </c:pt>
                <c:pt idx="66">
                  <c:v>2.0703290000000001</c:v>
                </c:pt>
                <c:pt idx="67">
                  <c:v>2.1230669999999998</c:v>
                </c:pt>
                <c:pt idx="68">
                  <c:v>1.922428</c:v>
                </c:pt>
                <c:pt idx="69">
                  <c:v>2.141947</c:v>
                </c:pt>
                <c:pt idx="70">
                  <c:v>2.322632</c:v>
                </c:pt>
                <c:pt idx="71">
                  <c:v>2.015409</c:v>
                </c:pt>
                <c:pt idx="72">
                  <c:v>1.8734379999999999</c:v>
                </c:pt>
                <c:pt idx="73">
                  <c:v>2.2223069999999998</c:v>
                </c:pt>
                <c:pt idx="74">
                  <c:v>1.868028</c:v>
                </c:pt>
                <c:pt idx="75">
                  <c:v>2.6453069999999999</c:v>
                </c:pt>
                <c:pt idx="76">
                  <c:v>2.7061829999999998</c:v>
                </c:pt>
                <c:pt idx="77">
                  <c:v>2.23306</c:v>
                </c:pt>
                <c:pt idx="78">
                  <c:v>2.0996939999999999</c:v>
                </c:pt>
                <c:pt idx="79">
                  <c:v>0</c:v>
                </c:pt>
                <c:pt idx="80">
                  <c:v>0</c:v>
                </c:pt>
                <c:pt idx="81">
                  <c:v>1.476653</c:v>
                </c:pt>
                <c:pt idx="82">
                  <c:v>1.558675</c:v>
                </c:pt>
                <c:pt idx="83">
                  <c:v>1.5038739999999999</c:v>
                </c:pt>
                <c:pt idx="84">
                  <c:v>0</c:v>
                </c:pt>
                <c:pt idx="85">
                  <c:v>2.1856270000000002</c:v>
                </c:pt>
                <c:pt idx="86">
                  <c:v>1.968377</c:v>
                </c:pt>
                <c:pt idx="87">
                  <c:v>2.1373530000000001</c:v>
                </c:pt>
                <c:pt idx="88">
                  <c:v>1.476661</c:v>
                </c:pt>
                <c:pt idx="89">
                  <c:v>1.806265</c:v>
                </c:pt>
                <c:pt idx="90">
                  <c:v>1.6328609999999999</c:v>
                </c:pt>
                <c:pt idx="91">
                  <c:v>1.72607</c:v>
                </c:pt>
                <c:pt idx="92">
                  <c:v>1.3905069999999999</c:v>
                </c:pt>
                <c:pt idx="93">
                  <c:v>2.2354210000000001</c:v>
                </c:pt>
                <c:pt idx="94">
                  <c:v>3.1886950000000001</c:v>
                </c:pt>
                <c:pt idx="95">
                  <c:v>0</c:v>
                </c:pt>
                <c:pt idx="96">
                  <c:v>2.2756449999999999</c:v>
                </c:pt>
                <c:pt idx="97">
                  <c:v>2.3907289999999999</c:v>
                </c:pt>
                <c:pt idx="98">
                  <c:v>2.1735340000000001</c:v>
                </c:pt>
                <c:pt idx="99">
                  <c:v>2.58229</c:v>
                </c:pt>
                <c:pt idx="100">
                  <c:v>2.07925</c:v>
                </c:pt>
                <c:pt idx="101">
                  <c:v>1.8060210000000001</c:v>
                </c:pt>
                <c:pt idx="102">
                  <c:v>1.9395180000000001</c:v>
                </c:pt>
                <c:pt idx="103">
                  <c:v>1.674026</c:v>
                </c:pt>
                <c:pt idx="104">
                  <c:v>2.1138150000000002</c:v>
                </c:pt>
                <c:pt idx="105">
                  <c:v>1.5386329999999999</c:v>
                </c:pt>
                <c:pt idx="106">
                  <c:v>1.9311739999999999</c:v>
                </c:pt>
                <c:pt idx="107">
                  <c:v>1.980219</c:v>
                </c:pt>
                <c:pt idx="108">
                  <c:v>2.3410500000000001</c:v>
                </c:pt>
                <c:pt idx="109">
                  <c:v>2.0722719999999999</c:v>
                </c:pt>
                <c:pt idx="110">
                  <c:v>2.5813990000000002</c:v>
                </c:pt>
                <c:pt idx="111">
                  <c:v>2.0089220000000001</c:v>
                </c:pt>
                <c:pt idx="112">
                  <c:v>2.8940139999999999</c:v>
                </c:pt>
                <c:pt idx="113">
                  <c:v>2.4130720000000001</c:v>
                </c:pt>
                <c:pt idx="114">
                  <c:v>2.074805</c:v>
                </c:pt>
                <c:pt idx="115">
                  <c:v>2.1425420000000002</c:v>
                </c:pt>
                <c:pt idx="116">
                  <c:v>2.09152</c:v>
                </c:pt>
                <c:pt idx="117">
                  <c:v>2.1627809999999998</c:v>
                </c:pt>
                <c:pt idx="118">
                  <c:v>2.2814109999999999</c:v>
                </c:pt>
                <c:pt idx="119">
                  <c:v>1.578357</c:v>
                </c:pt>
                <c:pt idx="120">
                  <c:v>1.603634</c:v>
                </c:pt>
                <c:pt idx="121">
                  <c:v>2.1248999999999998</c:v>
                </c:pt>
                <c:pt idx="122">
                  <c:v>0</c:v>
                </c:pt>
                <c:pt idx="123">
                  <c:v>1.8257829999999999</c:v>
                </c:pt>
                <c:pt idx="124">
                  <c:v>1.469017</c:v>
                </c:pt>
                <c:pt idx="125">
                  <c:v>2.2346840000000001</c:v>
                </c:pt>
                <c:pt idx="126">
                  <c:v>1.5613509999999999</c:v>
                </c:pt>
                <c:pt idx="127">
                  <c:v>1.6924189999999999</c:v>
                </c:pt>
                <c:pt idx="128">
                  <c:v>2.0156740000000002</c:v>
                </c:pt>
                <c:pt idx="129">
                  <c:v>1.711735</c:v>
                </c:pt>
                <c:pt idx="130">
                  <c:v>2.055825</c:v>
                </c:pt>
                <c:pt idx="131">
                  <c:v>1.7032119999999999</c:v>
                </c:pt>
                <c:pt idx="132">
                  <c:v>1.767595</c:v>
                </c:pt>
                <c:pt idx="133">
                  <c:v>1.6526620000000001</c:v>
                </c:pt>
                <c:pt idx="134">
                  <c:v>1.8627370000000001</c:v>
                </c:pt>
                <c:pt idx="135">
                  <c:v>1.640395</c:v>
                </c:pt>
                <c:pt idx="136">
                  <c:v>1.695951</c:v>
                </c:pt>
                <c:pt idx="137">
                  <c:v>2.5837650000000001</c:v>
                </c:pt>
                <c:pt idx="138">
                  <c:v>2.090856</c:v>
                </c:pt>
                <c:pt idx="139">
                  <c:v>2.1642830000000002</c:v>
                </c:pt>
                <c:pt idx="140">
                  <c:v>1.7713289999999999</c:v>
                </c:pt>
                <c:pt idx="141">
                  <c:v>2.094843</c:v>
                </c:pt>
                <c:pt idx="142">
                  <c:v>1.538089</c:v>
                </c:pt>
                <c:pt idx="143">
                  <c:v>1.715082</c:v>
                </c:pt>
                <c:pt idx="144">
                  <c:v>1.5370220000000001</c:v>
                </c:pt>
                <c:pt idx="145">
                  <c:v>1.4333180000000001</c:v>
                </c:pt>
                <c:pt idx="146">
                  <c:v>1.887373</c:v>
                </c:pt>
                <c:pt idx="147">
                  <c:v>1.3999140000000001</c:v>
                </c:pt>
                <c:pt idx="148">
                  <c:v>1.5572269999999999</c:v>
                </c:pt>
                <c:pt idx="149">
                  <c:v>1.3790610000000001</c:v>
                </c:pt>
                <c:pt idx="150">
                  <c:v>1.437497</c:v>
                </c:pt>
                <c:pt idx="151">
                  <c:v>1.9332069999999999</c:v>
                </c:pt>
                <c:pt idx="152">
                  <c:v>1.754645</c:v>
                </c:pt>
                <c:pt idx="153">
                  <c:v>1.46258</c:v>
                </c:pt>
                <c:pt idx="154">
                  <c:v>1.5734889999999999</c:v>
                </c:pt>
                <c:pt idx="155">
                  <c:v>1.8739300000000001</c:v>
                </c:pt>
                <c:pt idx="156">
                  <c:v>1.3992789999999999</c:v>
                </c:pt>
                <c:pt idx="157">
                  <c:v>1.935287</c:v>
                </c:pt>
                <c:pt idx="158">
                  <c:v>1.636566</c:v>
                </c:pt>
                <c:pt idx="159">
                  <c:v>1.9636089999999999</c:v>
                </c:pt>
                <c:pt idx="160">
                  <c:v>2.0854490000000001</c:v>
                </c:pt>
                <c:pt idx="161">
                  <c:v>1.7258180000000001</c:v>
                </c:pt>
                <c:pt idx="162">
                  <c:v>1.8949130000000001</c:v>
                </c:pt>
                <c:pt idx="163">
                  <c:v>1.598001</c:v>
                </c:pt>
                <c:pt idx="164">
                  <c:v>0</c:v>
                </c:pt>
                <c:pt idx="165">
                  <c:v>1.7828029999999999</c:v>
                </c:pt>
                <c:pt idx="166">
                  <c:v>1.823556</c:v>
                </c:pt>
                <c:pt idx="167">
                  <c:v>1.597486</c:v>
                </c:pt>
                <c:pt idx="168">
                  <c:v>1.294594</c:v>
                </c:pt>
                <c:pt idx="169">
                  <c:v>1.2109259999999999</c:v>
                </c:pt>
                <c:pt idx="170">
                  <c:v>1.624673</c:v>
                </c:pt>
                <c:pt idx="171">
                  <c:v>2.105998</c:v>
                </c:pt>
                <c:pt idx="172">
                  <c:v>2.1171609999999998</c:v>
                </c:pt>
                <c:pt idx="173">
                  <c:v>1.858619</c:v>
                </c:pt>
                <c:pt idx="174">
                  <c:v>2.2816139999999998</c:v>
                </c:pt>
                <c:pt idx="175">
                  <c:v>1.9726790000000001</c:v>
                </c:pt>
                <c:pt idx="176">
                  <c:v>1.571269</c:v>
                </c:pt>
                <c:pt idx="177">
                  <c:v>3.1614990000000001</c:v>
                </c:pt>
                <c:pt idx="178">
                  <c:v>2.3784369999999999</c:v>
                </c:pt>
                <c:pt idx="179">
                  <c:v>2.1614589999999998</c:v>
                </c:pt>
                <c:pt idx="180">
                  <c:v>1.965581</c:v>
                </c:pt>
                <c:pt idx="181">
                  <c:v>1.877232</c:v>
                </c:pt>
                <c:pt idx="182">
                  <c:v>2.081572</c:v>
                </c:pt>
                <c:pt idx="183">
                  <c:v>2.529271</c:v>
                </c:pt>
                <c:pt idx="184">
                  <c:v>2.4261119999999998</c:v>
                </c:pt>
                <c:pt idx="185">
                  <c:v>1.906229</c:v>
                </c:pt>
                <c:pt idx="186">
                  <c:v>1.4249499999999999</c:v>
                </c:pt>
                <c:pt idx="187">
                  <c:v>1.5317000000000001</c:v>
                </c:pt>
                <c:pt idx="188">
                  <c:v>1.565258</c:v>
                </c:pt>
                <c:pt idx="189">
                  <c:v>1.986361</c:v>
                </c:pt>
                <c:pt idx="190">
                  <c:v>1.4194500000000001</c:v>
                </c:pt>
                <c:pt idx="191">
                  <c:v>1.730613</c:v>
                </c:pt>
                <c:pt idx="192">
                  <c:v>1.603369</c:v>
                </c:pt>
                <c:pt idx="193">
                  <c:v>1.92134</c:v>
                </c:pt>
                <c:pt idx="194">
                  <c:v>0</c:v>
                </c:pt>
                <c:pt idx="195">
                  <c:v>1.639845</c:v>
                </c:pt>
                <c:pt idx="196">
                  <c:v>1.2711859999999999</c:v>
                </c:pt>
                <c:pt idx="197">
                  <c:v>1.9722489999999999</c:v>
                </c:pt>
                <c:pt idx="198">
                  <c:v>2.078757</c:v>
                </c:pt>
                <c:pt idx="199">
                  <c:v>1.84066</c:v>
                </c:pt>
                <c:pt idx="200">
                  <c:v>1.594293</c:v>
                </c:pt>
                <c:pt idx="201">
                  <c:v>1.629847</c:v>
                </c:pt>
                <c:pt idx="202">
                  <c:v>1.785426</c:v>
                </c:pt>
                <c:pt idx="203">
                  <c:v>2.127084</c:v>
                </c:pt>
                <c:pt idx="204">
                  <c:v>1.68384</c:v>
                </c:pt>
                <c:pt idx="205">
                  <c:v>2.0447280000000001</c:v>
                </c:pt>
                <c:pt idx="206">
                  <c:v>1.933454</c:v>
                </c:pt>
                <c:pt idx="207">
                  <c:v>2.0638350000000001</c:v>
                </c:pt>
                <c:pt idx="208">
                  <c:v>2.0208740000000001</c:v>
                </c:pt>
                <c:pt idx="209">
                  <c:v>1.8698239999999999</c:v>
                </c:pt>
                <c:pt idx="210">
                  <c:v>1.8033060000000001</c:v>
                </c:pt>
                <c:pt idx="211">
                  <c:v>1.7356510000000001</c:v>
                </c:pt>
                <c:pt idx="212">
                  <c:v>1.950226</c:v>
                </c:pt>
                <c:pt idx="213">
                  <c:v>0</c:v>
                </c:pt>
                <c:pt idx="214">
                  <c:v>1.6731480000000001</c:v>
                </c:pt>
                <c:pt idx="215">
                  <c:v>1.72235</c:v>
                </c:pt>
                <c:pt idx="216">
                  <c:v>1.7900149999999999</c:v>
                </c:pt>
                <c:pt idx="217">
                  <c:v>1.526845</c:v>
                </c:pt>
                <c:pt idx="218">
                  <c:v>1.615499</c:v>
                </c:pt>
                <c:pt idx="219">
                  <c:v>2.2198099999999998</c:v>
                </c:pt>
                <c:pt idx="220">
                  <c:v>2.1094089999999999</c:v>
                </c:pt>
                <c:pt idx="221">
                  <c:v>2.4744100000000002</c:v>
                </c:pt>
                <c:pt idx="222">
                  <c:v>1.7550559999999999</c:v>
                </c:pt>
                <c:pt idx="223">
                  <c:v>2.3777680000000001</c:v>
                </c:pt>
                <c:pt idx="224">
                  <c:v>1.865329</c:v>
                </c:pt>
                <c:pt idx="225">
                  <c:v>2.5618270000000001</c:v>
                </c:pt>
                <c:pt idx="226">
                  <c:v>0</c:v>
                </c:pt>
                <c:pt idx="227">
                  <c:v>1.920814</c:v>
                </c:pt>
                <c:pt idx="228">
                  <c:v>2.0232779999999999</c:v>
                </c:pt>
                <c:pt idx="229">
                  <c:v>1.764759</c:v>
                </c:pt>
                <c:pt idx="230">
                  <c:v>1.4682329999999999</c:v>
                </c:pt>
                <c:pt idx="231">
                  <c:v>2.0253420000000002</c:v>
                </c:pt>
                <c:pt idx="232">
                  <c:v>1.771261</c:v>
                </c:pt>
                <c:pt idx="233">
                  <c:v>1.6254820000000001</c:v>
                </c:pt>
                <c:pt idx="234">
                  <c:v>2.100352</c:v>
                </c:pt>
                <c:pt idx="235">
                  <c:v>1.569766</c:v>
                </c:pt>
                <c:pt idx="236">
                  <c:v>2.0556179999999999</c:v>
                </c:pt>
                <c:pt idx="237">
                  <c:v>2.1926199999999998</c:v>
                </c:pt>
                <c:pt idx="238">
                  <c:v>1.712906</c:v>
                </c:pt>
                <c:pt idx="239">
                  <c:v>1.8394710000000001</c:v>
                </c:pt>
                <c:pt idx="240">
                  <c:v>1.7350490000000001</c:v>
                </c:pt>
                <c:pt idx="241">
                  <c:v>2.1666479999999999</c:v>
                </c:pt>
                <c:pt idx="242">
                  <c:v>2.4208560000000001</c:v>
                </c:pt>
                <c:pt idx="243">
                  <c:v>2.2608389999999998</c:v>
                </c:pt>
                <c:pt idx="244">
                  <c:v>2.5256539999999998</c:v>
                </c:pt>
                <c:pt idx="245">
                  <c:v>0</c:v>
                </c:pt>
                <c:pt idx="246">
                  <c:v>1.991819</c:v>
                </c:pt>
                <c:pt idx="247">
                  <c:v>2.9900989999999998</c:v>
                </c:pt>
                <c:pt idx="248">
                  <c:v>3.140619</c:v>
                </c:pt>
                <c:pt idx="249">
                  <c:v>0</c:v>
                </c:pt>
                <c:pt idx="250">
                  <c:v>0</c:v>
                </c:pt>
                <c:pt idx="251">
                  <c:v>1.901554</c:v>
                </c:pt>
                <c:pt idx="252">
                  <c:v>2.009703</c:v>
                </c:pt>
                <c:pt idx="253">
                  <c:v>1.5325420000000001</c:v>
                </c:pt>
                <c:pt idx="254">
                  <c:v>1.7563550000000001</c:v>
                </c:pt>
                <c:pt idx="255">
                  <c:v>1.7603839999999999</c:v>
                </c:pt>
                <c:pt idx="256">
                  <c:v>1.9207129999999999</c:v>
                </c:pt>
                <c:pt idx="257">
                  <c:v>2.0227940000000002</c:v>
                </c:pt>
                <c:pt idx="258">
                  <c:v>0</c:v>
                </c:pt>
                <c:pt idx="259">
                  <c:v>2.1831399999999999</c:v>
                </c:pt>
                <c:pt idx="260">
                  <c:v>1.854838</c:v>
                </c:pt>
                <c:pt idx="261">
                  <c:v>2.2791039999999998</c:v>
                </c:pt>
                <c:pt idx="262">
                  <c:v>3.2372329999999998</c:v>
                </c:pt>
                <c:pt idx="263">
                  <c:v>3.0372629999999998</c:v>
                </c:pt>
                <c:pt idx="264">
                  <c:v>2.6933029999999998</c:v>
                </c:pt>
                <c:pt idx="265">
                  <c:v>2.7067000000000001</c:v>
                </c:pt>
                <c:pt idx="266">
                  <c:v>2.6981660000000001</c:v>
                </c:pt>
                <c:pt idx="267">
                  <c:v>2.5598380000000001</c:v>
                </c:pt>
                <c:pt idx="268">
                  <c:v>1.646914</c:v>
                </c:pt>
                <c:pt idx="269">
                  <c:v>1.8565259999999999</c:v>
                </c:pt>
                <c:pt idx="270">
                  <c:v>2.221876</c:v>
                </c:pt>
                <c:pt idx="271">
                  <c:v>1.514049</c:v>
                </c:pt>
                <c:pt idx="272">
                  <c:v>1.410757</c:v>
                </c:pt>
                <c:pt idx="273">
                  <c:v>1.4925459999999999</c:v>
                </c:pt>
                <c:pt idx="274">
                  <c:v>1.3555410000000001</c:v>
                </c:pt>
                <c:pt idx="275">
                  <c:v>1.267612</c:v>
                </c:pt>
                <c:pt idx="276">
                  <c:v>2.0755789999999998</c:v>
                </c:pt>
                <c:pt idx="277">
                  <c:v>2.345011</c:v>
                </c:pt>
                <c:pt idx="278">
                  <c:v>0</c:v>
                </c:pt>
                <c:pt idx="279">
                  <c:v>1.686434</c:v>
                </c:pt>
                <c:pt idx="280">
                  <c:v>1.461767</c:v>
                </c:pt>
                <c:pt idx="281">
                  <c:v>1.791736</c:v>
                </c:pt>
                <c:pt idx="282">
                  <c:v>2.1178680000000001</c:v>
                </c:pt>
                <c:pt idx="283">
                  <c:v>2.1504471039999999</c:v>
                </c:pt>
                <c:pt idx="284">
                  <c:v>1.7051150079999999</c:v>
                </c:pt>
                <c:pt idx="285">
                  <c:v>2.0166089999999999</c:v>
                </c:pt>
                <c:pt idx="286">
                  <c:v>2.1968869999999998</c:v>
                </c:pt>
                <c:pt idx="287">
                  <c:v>2.3786619999999998</c:v>
                </c:pt>
                <c:pt idx="288">
                  <c:v>2.4230480000000001</c:v>
                </c:pt>
                <c:pt idx="289">
                  <c:v>2.4488859999999999</c:v>
                </c:pt>
                <c:pt idx="290">
                  <c:v>1.564163</c:v>
                </c:pt>
                <c:pt idx="291">
                  <c:v>1.4729810000000001</c:v>
                </c:pt>
                <c:pt idx="292">
                  <c:v>1.443298</c:v>
                </c:pt>
                <c:pt idx="293">
                  <c:v>1.732507</c:v>
                </c:pt>
                <c:pt idx="294">
                  <c:v>1.6222129999999999</c:v>
                </c:pt>
                <c:pt idx="295">
                  <c:v>1.4276960000000001</c:v>
                </c:pt>
                <c:pt idx="296">
                  <c:v>2.0859939999999999</c:v>
                </c:pt>
                <c:pt idx="297">
                  <c:v>1.7033229999999999</c:v>
                </c:pt>
                <c:pt idx="298">
                  <c:v>2.1829149999999999</c:v>
                </c:pt>
                <c:pt idx="299">
                  <c:v>2.0434399999999999</c:v>
                </c:pt>
                <c:pt idx="300">
                  <c:v>1.454726</c:v>
                </c:pt>
                <c:pt idx="301">
                  <c:v>2.4511229999999999</c:v>
                </c:pt>
                <c:pt idx="302">
                  <c:v>1.5265359999999999</c:v>
                </c:pt>
                <c:pt idx="303">
                  <c:v>2.9500030000000002</c:v>
                </c:pt>
                <c:pt idx="304">
                  <c:v>1.887138</c:v>
                </c:pt>
                <c:pt idx="305">
                  <c:v>1.8816109999999999</c:v>
                </c:pt>
                <c:pt idx="306">
                  <c:v>2.0406249999999999</c:v>
                </c:pt>
                <c:pt idx="307">
                  <c:v>1.907233</c:v>
                </c:pt>
                <c:pt idx="308">
                  <c:v>1.420158</c:v>
                </c:pt>
                <c:pt idx="309">
                  <c:v>2.0470739999999998</c:v>
                </c:pt>
                <c:pt idx="310">
                  <c:v>1.393815</c:v>
                </c:pt>
                <c:pt idx="311">
                  <c:v>1.5728759999999999</c:v>
                </c:pt>
                <c:pt idx="312">
                  <c:v>1.945451</c:v>
                </c:pt>
                <c:pt idx="313">
                  <c:v>1.6233010000000001</c:v>
                </c:pt>
                <c:pt idx="314">
                  <c:v>1.77267</c:v>
                </c:pt>
                <c:pt idx="315">
                  <c:v>1.426912</c:v>
                </c:pt>
                <c:pt idx="316">
                  <c:v>1.6002879999999999</c:v>
                </c:pt>
                <c:pt idx="317">
                  <c:v>1.519649</c:v>
                </c:pt>
                <c:pt idx="318">
                  <c:v>1.1766529999999999</c:v>
                </c:pt>
                <c:pt idx="319">
                  <c:v>1.4928969999999999</c:v>
                </c:pt>
                <c:pt idx="320">
                  <c:v>1.9923070000000001</c:v>
                </c:pt>
                <c:pt idx="321">
                  <c:v>1.3293459999999999</c:v>
                </c:pt>
                <c:pt idx="322">
                  <c:v>0.88824800000000004</c:v>
                </c:pt>
                <c:pt idx="323">
                  <c:v>1.321877</c:v>
                </c:pt>
                <c:pt idx="324">
                  <c:v>1.457811</c:v>
                </c:pt>
                <c:pt idx="325">
                  <c:v>1.915729</c:v>
                </c:pt>
                <c:pt idx="326">
                  <c:v>2.6095830000000002</c:v>
                </c:pt>
                <c:pt idx="327">
                  <c:v>1.7447790000000001</c:v>
                </c:pt>
                <c:pt idx="328">
                  <c:v>1.867278</c:v>
                </c:pt>
                <c:pt idx="329">
                  <c:v>1.8858330000000001</c:v>
                </c:pt>
                <c:pt idx="330">
                  <c:v>0</c:v>
                </c:pt>
                <c:pt idx="331">
                  <c:v>1.213079</c:v>
                </c:pt>
                <c:pt idx="332">
                  <c:v>1.947414</c:v>
                </c:pt>
                <c:pt idx="333">
                  <c:v>1.3775900000000001</c:v>
                </c:pt>
                <c:pt idx="334">
                  <c:v>2.160056</c:v>
                </c:pt>
                <c:pt idx="335">
                  <c:v>1.617162</c:v>
                </c:pt>
                <c:pt idx="336">
                  <c:v>2.0648439999999999</c:v>
                </c:pt>
                <c:pt idx="337">
                  <c:v>1.8232919999999999</c:v>
                </c:pt>
                <c:pt idx="338">
                  <c:v>1.705805</c:v>
                </c:pt>
                <c:pt idx="339">
                  <c:v>1.6481680000000001</c:v>
                </c:pt>
                <c:pt idx="340">
                  <c:v>1.592762</c:v>
                </c:pt>
                <c:pt idx="341">
                  <c:v>1.677222</c:v>
                </c:pt>
                <c:pt idx="342">
                  <c:v>1.4104350000000001</c:v>
                </c:pt>
                <c:pt idx="343">
                  <c:v>1.821793</c:v>
                </c:pt>
                <c:pt idx="344">
                  <c:v>2.281094</c:v>
                </c:pt>
                <c:pt idx="345">
                  <c:v>0</c:v>
                </c:pt>
                <c:pt idx="346">
                  <c:v>2.4222969999999999</c:v>
                </c:pt>
                <c:pt idx="347">
                  <c:v>2.0049700000000001</c:v>
                </c:pt>
                <c:pt idx="348">
                  <c:v>1.494165</c:v>
                </c:pt>
                <c:pt idx="349">
                  <c:v>1.6086370000000001</c:v>
                </c:pt>
                <c:pt idx="350">
                  <c:v>1.084443</c:v>
                </c:pt>
                <c:pt idx="351">
                  <c:v>1.3193090000000001</c:v>
                </c:pt>
                <c:pt idx="352">
                  <c:v>1.195333</c:v>
                </c:pt>
                <c:pt idx="353">
                  <c:v>1.8388990000000001</c:v>
                </c:pt>
                <c:pt idx="354">
                  <c:v>1.3659650000000001</c:v>
                </c:pt>
                <c:pt idx="355">
                  <c:v>1.5276639999999999</c:v>
                </c:pt>
                <c:pt idx="356">
                  <c:v>1.669341</c:v>
                </c:pt>
                <c:pt idx="357">
                  <c:v>1.4071499999999999</c:v>
                </c:pt>
                <c:pt idx="358">
                  <c:v>0</c:v>
                </c:pt>
                <c:pt idx="359">
                  <c:v>2.3111280000000001</c:v>
                </c:pt>
                <c:pt idx="360">
                  <c:v>1.6624190000000001</c:v>
                </c:pt>
                <c:pt idx="361">
                  <c:v>1.388997</c:v>
                </c:pt>
                <c:pt idx="362">
                  <c:v>1.9676739999999999</c:v>
                </c:pt>
                <c:pt idx="363">
                  <c:v>1.65889</c:v>
                </c:pt>
                <c:pt idx="364">
                  <c:v>1.726694</c:v>
                </c:pt>
                <c:pt idx="365">
                  <c:v>2.5452810000000001</c:v>
                </c:pt>
                <c:pt idx="366">
                  <c:v>1.9724029999999999</c:v>
                </c:pt>
                <c:pt idx="367">
                  <c:v>2.1621220000000001</c:v>
                </c:pt>
                <c:pt idx="368">
                  <c:v>1.7891140000000001</c:v>
                </c:pt>
                <c:pt idx="369">
                  <c:v>2.3534609999999998</c:v>
                </c:pt>
                <c:pt idx="370">
                  <c:v>1.652237</c:v>
                </c:pt>
                <c:pt idx="371">
                  <c:v>1.6977770000000001</c:v>
                </c:pt>
                <c:pt idx="372">
                  <c:v>1.5844229999999999</c:v>
                </c:pt>
                <c:pt idx="373">
                  <c:v>0</c:v>
                </c:pt>
                <c:pt idx="374">
                  <c:v>1.5711919999999999</c:v>
                </c:pt>
                <c:pt idx="375">
                  <c:v>1.3185800000000001</c:v>
                </c:pt>
                <c:pt idx="376">
                  <c:v>1.4297489999999999</c:v>
                </c:pt>
                <c:pt idx="377">
                  <c:v>1.617189</c:v>
                </c:pt>
                <c:pt idx="378">
                  <c:v>1.1564289999999999</c:v>
                </c:pt>
                <c:pt idx="379">
                  <c:v>1.368209</c:v>
                </c:pt>
                <c:pt idx="380">
                  <c:v>1.484102</c:v>
                </c:pt>
                <c:pt idx="381">
                  <c:v>1.4411970000000001</c:v>
                </c:pt>
                <c:pt idx="382">
                  <c:v>2.270343</c:v>
                </c:pt>
                <c:pt idx="383">
                  <c:v>2.0511750000000002</c:v>
                </c:pt>
                <c:pt idx="384">
                  <c:v>1.4011560000000001</c:v>
                </c:pt>
                <c:pt idx="385">
                  <c:v>1.3689359999999999</c:v>
                </c:pt>
                <c:pt idx="386">
                  <c:v>1.266133</c:v>
                </c:pt>
                <c:pt idx="387">
                  <c:v>2.0671149999999998</c:v>
                </c:pt>
                <c:pt idx="388">
                  <c:v>1.7878339999999999</c:v>
                </c:pt>
                <c:pt idx="389">
                  <c:v>1.4092199999999999</c:v>
                </c:pt>
                <c:pt idx="390">
                  <c:v>1.500586</c:v>
                </c:pt>
                <c:pt idx="391">
                  <c:v>1.8644369999999999</c:v>
                </c:pt>
                <c:pt idx="392">
                  <c:v>1.712969</c:v>
                </c:pt>
                <c:pt idx="393">
                  <c:v>1.476559</c:v>
                </c:pt>
                <c:pt idx="394">
                  <c:v>1.2268570000000001</c:v>
                </c:pt>
                <c:pt idx="395">
                  <c:v>1.4905999999999999</c:v>
                </c:pt>
                <c:pt idx="396">
                  <c:v>1.3066340000000001</c:v>
                </c:pt>
                <c:pt idx="397">
                  <c:v>1.5613600000000001</c:v>
                </c:pt>
                <c:pt idx="398">
                  <c:v>2.1016889999999999</c:v>
                </c:pt>
                <c:pt idx="399">
                  <c:v>1.295388</c:v>
                </c:pt>
                <c:pt idx="400">
                  <c:v>1.365238</c:v>
                </c:pt>
                <c:pt idx="401">
                  <c:v>1.540986</c:v>
                </c:pt>
                <c:pt idx="402">
                  <c:v>1.5165459999999999</c:v>
                </c:pt>
                <c:pt idx="403">
                  <c:v>1.550459</c:v>
                </c:pt>
                <c:pt idx="404">
                  <c:v>0.97889199999999998</c:v>
                </c:pt>
                <c:pt idx="405">
                  <c:v>1.2439119999999999</c:v>
                </c:pt>
                <c:pt idx="406">
                  <c:v>1.223441</c:v>
                </c:pt>
                <c:pt idx="407">
                  <c:v>1.2556879999999999</c:v>
                </c:pt>
                <c:pt idx="408">
                  <c:v>1.640045</c:v>
                </c:pt>
                <c:pt idx="409">
                  <c:v>1.1993750000000001</c:v>
                </c:pt>
                <c:pt idx="410">
                  <c:v>1.1247879999999999</c:v>
                </c:pt>
                <c:pt idx="411">
                  <c:v>1.3526009999999999</c:v>
                </c:pt>
                <c:pt idx="412">
                  <c:v>2.7622680000000002</c:v>
                </c:pt>
                <c:pt idx="413">
                  <c:v>1.957365</c:v>
                </c:pt>
                <c:pt idx="414">
                  <c:v>0</c:v>
                </c:pt>
                <c:pt idx="415">
                  <c:v>1.265911</c:v>
                </c:pt>
                <c:pt idx="416">
                  <c:v>2.377154</c:v>
                </c:pt>
                <c:pt idx="417">
                  <c:v>1.723068</c:v>
                </c:pt>
                <c:pt idx="418">
                  <c:v>1.577987</c:v>
                </c:pt>
                <c:pt idx="419">
                  <c:v>1.3370649999999999</c:v>
                </c:pt>
                <c:pt idx="420">
                  <c:v>1.0466299999999999</c:v>
                </c:pt>
                <c:pt idx="421">
                  <c:v>1.523784</c:v>
                </c:pt>
                <c:pt idx="422">
                  <c:v>1.4035489999999999</c:v>
                </c:pt>
                <c:pt idx="423">
                  <c:v>1.544978</c:v>
                </c:pt>
                <c:pt idx="424">
                  <c:v>1.19729</c:v>
                </c:pt>
                <c:pt idx="425">
                  <c:v>1.834883</c:v>
                </c:pt>
                <c:pt idx="426">
                  <c:v>1.674715</c:v>
                </c:pt>
                <c:pt idx="427">
                  <c:v>1.3760520000000001</c:v>
                </c:pt>
                <c:pt idx="428">
                  <c:v>1.3363670000000001</c:v>
                </c:pt>
                <c:pt idx="429">
                  <c:v>2.0028630000000001</c:v>
                </c:pt>
                <c:pt idx="430">
                  <c:v>1.3421289999999999</c:v>
                </c:pt>
                <c:pt idx="431">
                  <c:v>2.057382</c:v>
                </c:pt>
                <c:pt idx="432">
                  <c:v>1.6622060000000001</c:v>
                </c:pt>
                <c:pt idx="433">
                  <c:v>2.1384050000000001</c:v>
                </c:pt>
                <c:pt idx="434">
                  <c:v>1.6083540000000001</c:v>
                </c:pt>
                <c:pt idx="435">
                  <c:v>1.7605040000000001</c:v>
                </c:pt>
                <c:pt idx="436">
                  <c:v>1.303914</c:v>
                </c:pt>
                <c:pt idx="437">
                  <c:v>1.156066</c:v>
                </c:pt>
                <c:pt idx="438">
                  <c:v>1.140833</c:v>
                </c:pt>
                <c:pt idx="439">
                  <c:v>1.173179</c:v>
                </c:pt>
                <c:pt idx="440">
                  <c:v>1.3832450000000001</c:v>
                </c:pt>
                <c:pt idx="441">
                  <c:v>1.131251</c:v>
                </c:pt>
                <c:pt idx="442">
                  <c:v>1.443632</c:v>
                </c:pt>
                <c:pt idx="443">
                  <c:v>1.8674390000000001</c:v>
                </c:pt>
                <c:pt idx="444">
                  <c:v>0</c:v>
                </c:pt>
                <c:pt idx="445">
                  <c:v>1.510786</c:v>
                </c:pt>
                <c:pt idx="446">
                  <c:v>1.8570610000000001</c:v>
                </c:pt>
                <c:pt idx="447">
                  <c:v>1.8371839999999999</c:v>
                </c:pt>
                <c:pt idx="448">
                  <c:v>1.8370629999999999</c:v>
                </c:pt>
                <c:pt idx="449">
                  <c:v>1.5686439999999999</c:v>
                </c:pt>
                <c:pt idx="450">
                  <c:v>1.259487</c:v>
                </c:pt>
                <c:pt idx="451">
                  <c:v>1.1239170000000001</c:v>
                </c:pt>
                <c:pt idx="452">
                  <c:v>1.5413410000000001</c:v>
                </c:pt>
                <c:pt idx="453">
                  <c:v>1.558181</c:v>
                </c:pt>
                <c:pt idx="454">
                  <c:v>1.3148550000000001</c:v>
                </c:pt>
                <c:pt idx="455">
                  <c:v>1.60921</c:v>
                </c:pt>
                <c:pt idx="456">
                  <c:v>1.7208209999999999</c:v>
                </c:pt>
                <c:pt idx="457">
                  <c:v>2.8445200000000002</c:v>
                </c:pt>
                <c:pt idx="458">
                  <c:v>3.4746869999999999</c:v>
                </c:pt>
                <c:pt idx="459">
                  <c:v>0</c:v>
                </c:pt>
                <c:pt idx="460">
                  <c:v>2.5090780000000001</c:v>
                </c:pt>
                <c:pt idx="461">
                  <c:v>2.076676</c:v>
                </c:pt>
                <c:pt idx="462">
                  <c:v>2.4304169999999998</c:v>
                </c:pt>
                <c:pt idx="463">
                  <c:v>2.1597659999999999</c:v>
                </c:pt>
                <c:pt idx="464">
                  <c:v>0</c:v>
                </c:pt>
                <c:pt idx="465">
                  <c:v>1.6131869999999999</c:v>
                </c:pt>
                <c:pt idx="466">
                  <c:v>1.572349</c:v>
                </c:pt>
                <c:pt idx="467">
                  <c:v>1.603334</c:v>
                </c:pt>
                <c:pt idx="468">
                  <c:v>1.2220390000000001</c:v>
                </c:pt>
                <c:pt idx="469">
                  <c:v>1.666188</c:v>
                </c:pt>
                <c:pt idx="470">
                  <c:v>1.5221849999999999</c:v>
                </c:pt>
                <c:pt idx="471">
                  <c:v>1.3163689999999999</c:v>
                </c:pt>
                <c:pt idx="472">
                  <c:v>1.8900319999999999</c:v>
                </c:pt>
                <c:pt idx="473">
                  <c:v>2.129972</c:v>
                </c:pt>
                <c:pt idx="474">
                  <c:v>2.0861640000000001</c:v>
                </c:pt>
                <c:pt idx="475">
                  <c:v>1.867464</c:v>
                </c:pt>
                <c:pt idx="476">
                  <c:v>0</c:v>
                </c:pt>
                <c:pt idx="477">
                  <c:v>2.310219</c:v>
                </c:pt>
                <c:pt idx="478">
                  <c:v>1.8340540000000001</c:v>
                </c:pt>
                <c:pt idx="479">
                  <c:v>1.647564</c:v>
                </c:pt>
                <c:pt idx="480">
                  <c:v>1.850824</c:v>
                </c:pt>
                <c:pt idx="481">
                  <c:v>1.581126</c:v>
                </c:pt>
                <c:pt idx="482">
                  <c:v>1.578894</c:v>
                </c:pt>
                <c:pt idx="483">
                  <c:v>1.459924</c:v>
                </c:pt>
                <c:pt idx="484">
                  <c:v>1.2644089999999999</c:v>
                </c:pt>
                <c:pt idx="485">
                  <c:v>1.1950050000000001</c:v>
                </c:pt>
                <c:pt idx="486">
                  <c:v>1.5991489999999999</c:v>
                </c:pt>
                <c:pt idx="487">
                  <c:v>1.9990920000000001</c:v>
                </c:pt>
                <c:pt idx="488">
                  <c:v>2.3196859999999999</c:v>
                </c:pt>
                <c:pt idx="489">
                  <c:v>1.9565360000000001</c:v>
                </c:pt>
                <c:pt idx="490">
                  <c:v>2.4621279999999999</c:v>
                </c:pt>
                <c:pt idx="491">
                  <c:v>1.918318</c:v>
                </c:pt>
                <c:pt idx="492">
                  <c:v>1.623874</c:v>
                </c:pt>
                <c:pt idx="493">
                  <c:v>1.8774930000000001</c:v>
                </c:pt>
                <c:pt idx="494">
                  <c:v>1.968377</c:v>
                </c:pt>
                <c:pt idx="495">
                  <c:v>2.1497649999999999</c:v>
                </c:pt>
                <c:pt idx="496">
                  <c:v>0</c:v>
                </c:pt>
                <c:pt idx="497">
                  <c:v>2.002586</c:v>
                </c:pt>
                <c:pt idx="498">
                  <c:v>2.0176059999999998</c:v>
                </c:pt>
                <c:pt idx="499">
                  <c:v>3.5905109999999998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1.279863</c:v>
                </c:pt>
                <c:pt idx="505">
                  <c:v>1.9690049999999999</c:v>
                </c:pt>
                <c:pt idx="506">
                  <c:v>1.535326</c:v>
                </c:pt>
                <c:pt idx="507">
                  <c:v>1.6128530000000001</c:v>
                </c:pt>
                <c:pt idx="508">
                  <c:v>1.25318</c:v>
                </c:pt>
                <c:pt idx="509">
                  <c:v>0</c:v>
                </c:pt>
                <c:pt idx="510">
                  <c:v>1.2756940000000001</c:v>
                </c:pt>
                <c:pt idx="511">
                  <c:v>1.5299720000000001</c:v>
                </c:pt>
                <c:pt idx="512">
                  <c:v>1.2507600000000001</c:v>
                </c:pt>
                <c:pt idx="513">
                  <c:v>1.479538</c:v>
                </c:pt>
                <c:pt idx="514">
                  <c:v>1.4595860000000001</c:v>
                </c:pt>
                <c:pt idx="515">
                  <c:v>1.667198</c:v>
                </c:pt>
                <c:pt idx="516">
                  <c:v>1.4960230000000001</c:v>
                </c:pt>
                <c:pt idx="517">
                  <c:v>1.332489</c:v>
                </c:pt>
                <c:pt idx="518">
                  <c:v>1.8851150000000001</c:v>
                </c:pt>
                <c:pt idx="519">
                  <c:v>1.647389</c:v>
                </c:pt>
                <c:pt idx="520">
                  <c:v>1.8403</c:v>
                </c:pt>
                <c:pt idx="521">
                  <c:v>1.611858</c:v>
                </c:pt>
                <c:pt idx="522">
                  <c:v>1.5994379999999999</c:v>
                </c:pt>
                <c:pt idx="523">
                  <c:v>1.435573</c:v>
                </c:pt>
                <c:pt idx="524">
                  <c:v>1.2066809999999999</c:v>
                </c:pt>
                <c:pt idx="525">
                  <c:v>1.1011040000000001</c:v>
                </c:pt>
                <c:pt idx="526">
                  <c:v>0.94129600000000002</c:v>
                </c:pt>
                <c:pt idx="527">
                  <c:v>1.8997710000000001</c:v>
                </c:pt>
                <c:pt idx="528">
                  <c:v>1.3435550000000001</c:v>
                </c:pt>
                <c:pt idx="529">
                  <c:v>0</c:v>
                </c:pt>
                <c:pt idx="530">
                  <c:v>1.4561280000000001</c:v>
                </c:pt>
                <c:pt idx="531">
                  <c:v>1.378692</c:v>
                </c:pt>
                <c:pt idx="532">
                  <c:v>1.147149</c:v>
                </c:pt>
                <c:pt idx="533">
                  <c:v>1.2929520000000001</c:v>
                </c:pt>
                <c:pt idx="534">
                  <c:v>1.443746</c:v>
                </c:pt>
                <c:pt idx="535">
                  <c:v>1.3193889999999999</c:v>
                </c:pt>
                <c:pt idx="536">
                  <c:v>1.711889</c:v>
                </c:pt>
                <c:pt idx="537">
                  <c:v>2.1175540000000002</c:v>
                </c:pt>
                <c:pt idx="538">
                  <c:v>1.2082329999999999</c:v>
                </c:pt>
                <c:pt idx="539">
                  <c:v>1.0868409999999999</c:v>
                </c:pt>
                <c:pt idx="540">
                  <c:v>0.92096900000000004</c:v>
                </c:pt>
                <c:pt idx="541">
                  <c:v>0.79307099999999997</c:v>
                </c:pt>
                <c:pt idx="542">
                  <c:v>1.3605449999999999</c:v>
                </c:pt>
                <c:pt idx="543">
                  <c:v>1.3567309999999999</c:v>
                </c:pt>
                <c:pt idx="544">
                  <c:v>1.554729</c:v>
                </c:pt>
                <c:pt idx="545">
                  <c:v>1.030667</c:v>
                </c:pt>
                <c:pt idx="546">
                  <c:v>1.554521</c:v>
                </c:pt>
                <c:pt idx="547">
                  <c:v>1.1049910000000001</c:v>
                </c:pt>
                <c:pt idx="548">
                  <c:v>1.32663</c:v>
                </c:pt>
                <c:pt idx="549">
                  <c:v>1.0868709999999999</c:v>
                </c:pt>
                <c:pt idx="550">
                  <c:v>1.26309</c:v>
                </c:pt>
                <c:pt idx="551">
                  <c:v>1.235198</c:v>
                </c:pt>
                <c:pt idx="552">
                  <c:v>1.2725420000000001</c:v>
                </c:pt>
                <c:pt idx="553">
                  <c:v>1.4059520000000001</c:v>
                </c:pt>
                <c:pt idx="554">
                  <c:v>2.2911389999999998</c:v>
                </c:pt>
                <c:pt idx="555">
                  <c:v>1.4507030000000001</c:v>
                </c:pt>
                <c:pt idx="556">
                  <c:v>1.4517180000000001</c:v>
                </c:pt>
                <c:pt idx="557">
                  <c:v>1.8830480000000001</c:v>
                </c:pt>
                <c:pt idx="558">
                  <c:v>1.401767</c:v>
                </c:pt>
                <c:pt idx="559">
                  <c:v>1.271685</c:v>
                </c:pt>
                <c:pt idx="560">
                  <c:v>1.3630059999999999</c:v>
                </c:pt>
                <c:pt idx="561">
                  <c:v>1.3708670000000001</c:v>
                </c:pt>
                <c:pt idx="562">
                  <c:v>0.95892599999999995</c:v>
                </c:pt>
                <c:pt idx="563">
                  <c:v>1.219479</c:v>
                </c:pt>
                <c:pt idx="564">
                  <c:v>1.7747250000000001</c:v>
                </c:pt>
                <c:pt idx="565">
                  <c:v>1.7253229999999999</c:v>
                </c:pt>
                <c:pt idx="566">
                  <c:v>1.9879180000000001</c:v>
                </c:pt>
                <c:pt idx="567">
                  <c:v>1.8143990000000001</c:v>
                </c:pt>
                <c:pt idx="568">
                  <c:v>1.5026839999999999</c:v>
                </c:pt>
                <c:pt idx="569">
                  <c:v>1.5152540000000001</c:v>
                </c:pt>
                <c:pt idx="570">
                  <c:v>1.7344520000000001</c:v>
                </c:pt>
                <c:pt idx="571">
                  <c:v>1.8936109999999999</c:v>
                </c:pt>
                <c:pt idx="572">
                  <c:v>1.868736</c:v>
                </c:pt>
                <c:pt idx="573">
                  <c:v>1.7142999999999999</c:v>
                </c:pt>
                <c:pt idx="574">
                  <c:v>1.4742280000000001</c:v>
                </c:pt>
                <c:pt idx="575">
                  <c:v>1.3897200000000001</c:v>
                </c:pt>
                <c:pt idx="576">
                  <c:v>2.2138620000000002</c:v>
                </c:pt>
                <c:pt idx="577">
                  <c:v>2.0708129999999998</c:v>
                </c:pt>
                <c:pt idx="578">
                  <c:v>1.72462</c:v>
                </c:pt>
                <c:pt idx="579">
                  <c:v>1.278394</c:v>
                </c:pt>
                <c:pt idx="580">
                  <c:v>1.6199730000000001</c:v>
                </c:pt>
                <c:pt idx="581">
                  <c:v>1.2151430000000001</c:v>
                </c:pt>
                <c:pt idx="582">
                  <c:v>1.300627</c:v>
                </c:pt>
                <c:pt idx="583">
                  <c:v>1.5392710000000001</c:v>
                </c:pt>
                <c:pt idx="584">
                  <c:v>1.289201</c:v>
                </c:pt>
                <c:pt idx="585">
                  <c:v>0.90943399999999996</c:v>
                </c:pt>
                <c:pt idx="586">
                  <c:v>1.2215830000000001</c:v>
                </c:pt>
                <c:pt idx="587">
                  <c:v>1.353513</c:v>
                </c:pt>
                <c:pt idx="588">
                  <c:v>0.95175799999999999</c:v>
                </c:pt>
                <c:pt idx="589">
                  <c:v>1.387656</c:v>
                </c:pt>
                <c:pt idx="590">
                  <c:v>1.3398190000000001</c:v>
                </c:pt>
                <c:pt idx="591">
                  <c:v>1.4970939999999999</c:v>
                </c:pt>
                <c:pt idx="592">
                  <c:v>1.0631550000000001</c:v>
                </c:pt>
                <c:pt idx="593">
                  <c:v>1.4816180000000001</c:v>
                </c:pt>
                <c:pt idx="594">
                  <c:v>0</c:v>
                </c:pt>
                <c:pt idx="595">
                  <c:v>1.6695549999999999</c:v>
                </c:pt>
                <c:pt idx="596">
                  <c:v>1.755563</c:v>
                </c:pt>
                <c:pt idx="597">
                  <c:v>2.0990099999999998</c:v>
                </c:pt>
                <c:pt idx="598">
                  <c:v>1.5603720000000001</c:v>
                </c:pt>
                <c:pt idx="599">
                  <c:v>1.1557200000000001</c:v>
                </c:pt>
                <c:pt idx="600">
                  <c:v>1.3804069999999999</c:v>
                </c:pt>
                <c:pt idx="601">
                  <c:v>1.4519690000000001</c:v>
                </c:pt>
                <c:pt idx="602">
                  <c:v>1.966664</c:v>
                </c:pt>
                <c:pt idx="603">
                  <c:v>2.2800150000000001</c:v>
                </c:pt>
                <c:pt idx="604">
                  <c:v>1.279169</c:v>
                </c:pt>
                <c:pt idx="605">
                  <c:v>1.5555349999999999</c:v>
                </c:pt>
                <c:pt idx="606">
                  <c:v>2.185819</c:v>
                </c:pt>
                <c:pt idx="607">
                  <c:v>1.71566</c:v>
                </c:pt>
                <c:pt idx="608">
                  <c:v>1.646503</c:v>
                </c:pt>
                <c:pt idx="609">
                  <c:v>1.656045</c:v>
                </c:pt>
                <c:pt idx="610">
                  <c:v>1.502572</c:v>
                </c:pt>
                <c:pt idx="611">
                  <c:v>1.9130339999999999</c:v>
                </c:pt>
                <c:pt idx="612">
                  <c:v>1.725735</c:v>
                </c:pt>
                <c:pt idx="613">
                  <c:v>1.1297900000000001</c:v>
                </c:pt>
                <c:pt idx="614">
                  <c:v>1.433543</c:v>
                </c:pt>
                <c:pt idx="615">
                  <c:v>1.938286</c:v>
                </c:pt>
                <c:pt idx="616">
                  <c:v>2.2213310000000002</c:v>
                </c:pt>
                <c:pt idx="617">
                  <c:v>1.9322870000000001</c:v>
                </c:pt>
                <c:pt idx="618">
                  <c:v>1.91788</c:v>
                </c:pt>
                <c:pt idx="619">
                  <c:v>1.7546330000000001</c:v>
                </c:pt>
                <c:pt idx="620">
                  <c:v>1.6200749999999999</c:v>
                </c:pt>
                <c:pt idx="621">
                  <c:v>1.657724</c:v>
                </c:pt>
                <c:pt idx="622">
                  <c:v>1.043515</c:v>
                </c:pt>
                <c:pt idx="623">
                  <c:v>1.556063</c:v>
                </c:pt>
                <c:pt idx="624">
                  <c:v>1.520416</c:v>
                </c:pt>
                <c:pt idx="625">
                  <c:v>1.429119</c:v>
                </c:pt>
                <c:pt idx="626">
                  <c:v>1.2186779999999999</c:v>
                </c:pt>
                <c:pt idx="627">
                  <c:v>1.244999</c:v>
                </c:pt>
                <c:pt idx="628">
                  <c:v>1.0439050000000001</c:v>
                </c:pt>
                <c:pt idx="629">
                  <c:v>1.4147400000000001</c:v>
                </c:pt>
                <c:pt idx="630">
                  <c:v>1.1639999999999999</c:v>
                </c:pt>
                <c:pt idx="631">
                  <c:v>1.441133</c:v>
                </c:pt>
                <c:pt idx="632">
                  <c:v>1.056916</c:v>
                </c:pt>
                <c:pt idx="633">
                  <c:v>1.4783269999999999</c:v>
                </c:pt>
                <c:pt idx="634">
                  <c:v>1.1900059999999999</c:v>
                </c:pt>
                <c:pt idx="635">
                  <c:v>2.1200589999999999</c:v>
                </c:pt>
                <c:pt idx="636">
                  <c:v>1.8625320000000001</c:v>
                </c:pt>
                <c:pt idx="637">
                  <c:v>2.3904770000000002</c:v>
                </c:pt>
                <c:pt idx="638">
                  <c:v>2.5002049999999998</c:v>
                </c:pt>
                <c:pt idx="639">
                  <c:v>2.293933</c:v>
                </c:pt>
                <c:pt idx="640">
                  <c:v>1.7888489999999999</c:v>
                </c:pt>
                <c:pt idx="641">
                  <c:v>1.846695</c:v>
                </c:pt>
                <c:pt idx="642">
                  <c:v>2.2300239999999998</c:v>
                </c:pt>
                <c:pt idx="643">
                  <c:v>1.6653560000000001</c:v>
                </c:pt>
                <c:pt idx="644">
                  <c:v>1.578322</c:v>
                </c:pt>
                <c:pt idx="645">
                  <c:v>1.1329020000000001</c:v>
                </c:pt>
                <c:pt idx="646">
                  <c:v>1.9609019999999999</c:v>
                </c:pt>
                <c:pt idx="647">
                  <c:v>1.91367</c:v>
                </c:pt>
                <c:pt idx="648">
                  <c:v>1.2246319999999999</c:v>
                </c:pt>
                <c:pt idx="649">
                  <c:v>1.8998969999999999</c:v>
                </c:pt>
                <c:pt idx="650">
                  <c:v>1.468315</c:v>
                </c:pt>
                <c:pt idx="651">
                  <c:v>1.413106</c:v>
                </c:pt>
                <c:pt idx="652">
                  <c:v>1.222078</c:v>
                </c:pt>
                <c:pt idx="653">
                  <c:v>1.5741210000000001</c:v>
                </c:pt>
                <c:pt idx="654">
                  <c:v>1.5542689999999999</c:v>
                </c:pt>
                <c:pt idx="655">
                  <c:v>1.168134</c:v>
                </c:pt>
                <c:pt idx="656">
                  <c:v>2.1919930000000001</c:v>
                </c:pt>
                <c:pt idx="657">
                  <c:v>2.1594139999999999</c:v>
                </c:pt>
                <c:pt idx="658">
                  <c:v>2.9345180000000002</c:v>
                </c:pt>
                <c:pt idx="659">
                  <c:v>3.0342989999999999</c:v>
                </c:pt>
                <c:pt idx="660">
                  <c:v>1.805334</c:v>
                </c:pt>
                <c:pt idx="661">
                  <c:v>2.0988090000000001</c:v>
                </c:pt>
                <c:pt idx="662">
                  <c:v>2.4654880000000001</c:v>
                </c:pt>
                <c:pt idx="663">
                  <c:v>2.2520250000000002</c:v>
                </c:pt>
                <c:pt idx="664">
                  <c:v>1.7911170000000001</c:v>
                </c:pt>
                <c:pt idx="665">
                  <c:v>2.184609</c:v>
                </c:pt>
                <c:pt idx="666">
                  <c:v>1.455233</c:v>
                </c:pt>
                <c:pt idx="667">
                  <c:v>1.3357779999999999</c:v>
                </c:pt>
                <c:pt idx="668">
                  <c:v>0</c:v>
                </c:pt>
                <c:pt idx="669">
                  <c:v>1.3011219999999999</c:v>
                </c:pt>
                <c:pt idx="670">
                  <c:v>1.237798</c:v>
                </c:pt>
                <c:pt idx="671">
                  <c:v>1.341407</c:v>
                </c:pt>
                <c:pt idx="672">
                  <c:v>1.317542</c:v>
                </c:pt>
                <c:pt idx="673">
                  <c:v>0.96349700000000005</c:v>
                </c:pt>
                <c:pt idx="674">
                  <c:v>1.779215</c:v>
                </c:pt>
                <c:pt idx="675">
                  <c:v>1.489744</c:v>
                </c:pt>
                <c:pt idx="676">
                  <c:v>1.5515570000000001</c:v>
                </c:pt>
                <c:pt idx="677">
                  <c:v>1.8552709999999999</c:v>
                </c:pt>
                <c:pt idx="678">
                  <c:v>1.380803</c:v>
                </c:pt>
                <c:pt idx="679">
                  <c:v>1.1062209999999999</c:v>
                </c:pt>
                <c:pt idx="680">
                  <c:v>1.2248730000000001</c:v>
                </c:pt>
                <c:pt idx="681">
                  <c:v>1.5794859999999999</c:v>
                </c:pt>
                <c:pt idx="682">
                  <c:v>1.9014789999999999</c:v>
                </c:pt>
                <c:pt idx="683">
                  <c:v>1.4423239999999999</c:v>
                </c:pt>
                <c:pt idx="684">
                  <c:v>1.500078</c:v>
                </c:pt>
                <c:pt idx="685">
                  <c:v>1.619883</c:v>
                </c:pt>
                <c:pt idx="686">
                  <c:v>1.535299</c:v>
                </c:pt>
                <c:pt idx="687">
                  <c:v>1.3899859999999999</c:v>
                </c:pt>
                <c:pt idx="688">
                  <c:v>1.2707200000000001</c:v>
                </c:pt>
                <c:pt idx="689">
                  <c:v>1.3293630000000001</c:v>
                </c:pt>
                <c:pt idx="690">
                  <c:v>1.524081</c:v>
                </c:pt>
                <c:pt idx="691">
                  <c:v>1.5495969999999999</c:v>
                </c:pt>
                <c:pt idx="692">
                  <c:v>1.505493</c:v>
                </c:pt>
                <c:pt idx="693">
                  <c:v>0</c:v>
                </c:pt>
                <c:pt idx="694">
                  <c:v>1.817483</c:v>
                </c:pt>
                <c:pt idx="695">
                  <c:v>1.246599</c:v>
                </c:pt>
                <c:pt idx="696">
                  <c:v>1.1610119999999999</c:v>
                </c:pt>
                <c:pt idx="697">
                  <c:v>1.37117</c:v>
                </c:pt>
                <c:pt idx="698">
                  <c:v>1.2159150000000001</c:v>
                </c:pt>
                <c:pt idx="699">
                  <c:v>1.3367519999999999</c:v>
                </c:pt>
                <c:pt idx="700">
                  <c:v>1.514437</c:v>
                </c:pt>
                <c:pt idx="701">
                  <c:v>1.291582</c:v>
                </c:pt>
                <c:pt idx="702">
                  <c:v>1.640998</c:v>
                </c:pt>
                <c:pt idx="703">
                  <c:v>1.324233</c:v>
                </c:pt>
                <c:pt idx="704">
                  <c:v>1.671643</c:v>
                </c:pt>
                <c:pt idx="705">
                  <c:v>1.9578990000000001</c:v>
                </c:pt>
                <c:pt idx="706">
                  <c:v>1.719312</c:v>
                </c:pt>
                <c:pt idx="707">
                  <c:v>1.7010590000000001</c:v>
                </c:pt>
                <c:pt idx="708">
                  <c:v>1.1165290000000001</c:v>
                </c:pt>
                <c:pt idx="709">
                  <c:v>1.170042</c:v>
                </c:pt>
                <c:pt idx="710">
                  <c:v>1.156202</c:v>
                </c:pt>
                <c:pt idx="711">
                  <c:v>1.418026</c:v>
                </c:pt>
                <c:pt idx="712">
                  <c:v>1.188693</c:v>
                </c:pt>
                <c:pt idx="713">
                  <c:v>1.1199220000000001</c:v>
                </c:pt>
                <c:pt idx="714">
                  <c:v>0</c:v>
                </c:pt>
                <c:pt idx="715">
                  <c:v>1.5575920000000001</c:v>
                </c:pt>
                <c:pt idx="716">
                  <c:v>1.5146500000000001</c:v>
                </c:pt>
                <c:pt idx="717">
                  <c:v>1.142539</c:v>
                </c:pt>
                <c:pt idx="718">
                  <c:v>1.343216</c:v>
                </c:pt>
                <c:pt idx="719">
                  <c:v>1.2426820000000001</c:v>
                </c:pt>
                <c:pt idx="720">
                  <c:v>1.3287979999999999</c:v>
                </c:pt>
                <c:pt idx="721">
                  <c:v>1.1787030000000001</c:v>
                </c:pt>
                <c:pt idx="722">
                  <c:v>1.7765569999999999</c:v>
                </c:pt>
                <c:pt idx="723">
                  <c:v>1.534856</c:v>
                </c:pt>
                <c:pt idx="724">
                  <c:v>1.4161140000000001</c:v>
                </c:pt>
                <c:pt idx="725">
                  <c:v>0</c:v>
                </c:pt>
                <c:pt idx="726">
                  <c:v>1.4114960000000001</c:v>
                </c:pt>
                <c:pt idx="727">
                  <c:v>1.655108</c:v>
                </c:pt>
                <c:pt idx="728">
                  <c:v>1.3935660000000001</c:v>
                </c:pt>
                <c:pt idx="729">
                  <c:v>1.062675</c:v>
                </c:pt>
                <c:pt idx="730">
                  <c:v>1.5058290000000001</c:v>
                </c:pt>
                <c:pt idx="731">
                  <c:v>1.2600960000000001</c:v>
                </c:pt>
                <c:pt idx="732">
                  <c:v>1.466323</c:v>
                </c:pt>
                <c:pt idx="733">
                  <c:v>1.569842</c:v>
                </c:pt>
                <c:pt idx="734">
                  <c:v>1.368106</c:v>
                </c:pt>
                <c:pt idx="735">
                  <c:v>1.234111</c:v>
                </c:pt>
                <c:pt idx="736">
                  <c:v>1.60982</c:v>
                </c:pt>
                <c:pt idx="737">
                  <c:v>1.8855690000000001</c:v>
                </c:pt>
                <c:pt idx="738">
                  <c:v>1.884738</c:v>
                </c:pt>
                <c:pt idx="739">
                  <c:v>1.7884</c:v>
                </c:pt>
                <c:pt idx="740">
                  <c:v>1.8090790000000001</c:v>
                </c:pt>
                <c:pt idx="741">
                  <c:v>2.0612330000000001</c:v>
                </c:pt>
                <c:pt idx="742">
                  <c:v>1.370322</c:v>
                </c:pt>
                <c:pt idx="743">
                  <c:v>1.177324</c:v>
                </c:pt>
                <c:pt idx="744">
                  <c:v>1.472923</c:v>
                </c:pt>
                <c:pt idx="745">
                  <c:v>2.701101</c:v>
                </c:pt>
                <c:pt idx="746">
                  <c:v>0</c:v>
                </c:pt>
                <c:pt idx="747">
                  <c:v>2.109944</c:v>
                </c:pt>
                <c:pt idx="748">
                  <c:v>2.1148359999999999</c:v>
                </c:pt>
                <c:pt idx="749">
                  <c:v>2.663011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1.3965050000000001</c:v>
                </c:pt>
                <c:pt idx="754">
                  <c:v>1.5239579999999999</c:v>
                </c:pt>
                <c:pt idx="755">
                  <c:v>1.409559</c:v>
                </c:pt>
                <c:pt idx="756">
                  <c:v>1.6869099999999999</c:v>
                </c:pt>
                <c:pt idx="757">
                  <c:v>1.978572</c:v>
                </c:pt>
                <c:pt idx="758">
                  <c:v>0</c:v>
                </c:pt>
                <c:pt idx="759">
                  <c:v>1.7133579999999999</c:v>
                </c:pt>
                <c:pt idx="760">
                  <c:v>2.4102480000000002</c:v>
                </c:pt>
                <c:pt idx="761">
                  <c:v>2.8426939999999998</c:v>
                </c:pt>
                <c:pt idx="762">
                  <c:v>2.5501999999999998</c:v>
                </c:pt>
                <c:pt idx="763">
                  <c:v>3.3990450000000001</c:v>
                </c:pt>
                <c:pt idx="764">
                  <c:v>2.7345950000000001</c:v>
                </c:pt>
                <c:pt idx="765">
                  <c:v>2.1096849999999998</c:v>
                </c:pt>
                <c:pt idx="766">
                  <c:v>2.2587359999999999</c:v>
                </c:pt>
                <c:pt idx="767">
                  <c:v>2.3680270000000001</c:v>
                </c:pt>
                <c:pt idx="768">
                  <c:v>1.5977699999999999</c:v>
                </c:pt>
                <c:pt idx="769">
                  <c:v>2.1843279999999998</c:v>
                </c:pt>
                <c:pt idx="770">
                  <c:v>1.901111</c:v>
                </c:pt>
                <c:pt idx="771">
                  <c:v>1.981894</c:v>
                </c:pt>
                <c:pt idx="772">
                  <c:v>1.7750779999999999</c:v>
                </c:pt>
                <c:pt idx="773">
                  <c:v>1.4350719999999999</c:v>
                </c:pt>
                <c:pt idx="774">
                  <c:v>1.812486</c:v>
                </c:pt>
                <c:pt idx="775">
                  <c:v>1.5861179999999999</c:v>
                </c:pt>
                <c:pt idx="776">
                  <c:v>1.882423</c:v>
                </c:pt>
                <c:pt idx="777">
                  <c:v>1.6003989999999999</c:v>
                </c:pt>
                <c:pt idx="778">
                  <c:v>0</c:v>
                </c:pt>
                <c:pt idx="779">
                  <c:v>2.1913299999999998</c:v>
                </c:pt>
                <c:pt idx="780">
                  <c:v>1.5398130000000001</c:v>
                </c:pt>
                <c:pt idx="781">
                  <c:v>1.9994240000000001</c:v>
                </c:pt>
                <c:pt idx="782">
                  <c:v>1.5585720000000001</c:v>
                </c:pt>
                <c:pt idx="783">
                  <c:v>0</c:v>
                </c:pt>
                <c:pt idx="784">
                  <c:v>0</c:v>
                </c:pt>
                <c:pt idx="785">
                  <c:v>1.992659</c:v>
                </c:pt>
                <c:pt idx="786">
                  <c:v>1.964607</c:v>
                </c:pt>
                <c:pt idx="787">
                  <c:v>2.3876879999999998</c:v>
                </c:pt>
                <c:pt idx="788">
                  <c:v>1.5807869999999999</c:v>
                </c:pt>
                <c:pt idx="789">
                  <c:v>1.814875</c:v>
                </c:pt>
                <c:pt idx="790">
                  <c:v>1.378981</c:v>
                </c:pt>
                <c:pt idx="791">
                  <c:v>1.366104</c:v>
                </c:pt>
                <c:pt idx="792">
                  <c:v>1.334924</c:v>
                </c:pt>
                <c:pt idx="793">
                  <c:v>0</c:v>
                </c:pt>
                <c:pt idx="794">
                  <c:v>1.3934150000000001</c:v>
                </c:pt>
                <c:pt idx="795">
                  <c:v>2.0597850000000002</c:v>
                </c:pt>
                <c:pt idx="796">
                  <c:v>1.7738640000000001</c:v>
                </c:pt>
                <c:pt idx="797">
                  <c:v>1.5152030000000001</c:v>
                </c:pt>
                <c:pt idx="798">
                  <c:v>2.0898870000000001</c:v>
                </c:pt>
                <c:pt idx="799">
                  <c:v>1.64279</c:v>
                </c:pt>
                <c:pt idx="800">
                  <c:v>2.166833</c:v>
                </c:pt>
                <c:pt idx="801">
                  <c:v>1.629623</c:v>
                </c:pt>
                <c:pt idx="802">
                  <c:v>1.4562280000000001</c:v>
                </c:pt>
                <c:pt idx="803">
                  <c:v>1.5363439999999999</c:v>
                </c:pt>
                <c:pt idx="804">
                  <c:v>1.6525259999999999</c:v>
                </c:pt>
                <c:pt idx="805">
                  <c:v>2.3191989999999998</c:v>
                </c:pt>
                <c:pt idx="806">
                  <c:v>1.304065</c:v>
                </c:pt>
                <c:pt idx="807">
                  <c:v>1.1989350000000001</c:v>
                </c:pt>
                <c:pt idx="808">
                  <c:v>2.0018470000000002</c:v>
                </c:pt>
                <c:pt idx="809">
                  <c:v>1.808494</c:v>
                </c:pt>
                <c:pt idx="810">
                  <c:v>2.837685</c:v>
                </c:pt>
                <c:pt idx="811">
                  <c:v>1.7130529999999999</c:v>
                </c:pt>
                <c:pt idx="812">
                  <c:v>1.4131860000000001</c:v>
                </c:pt>
                <c:pt idx="813">
                  <c:v>1.681054</c:v>
                </c:pt>
                <c:pt idx="814">
                  <c:v>1.032934</c:v>
                </c:pt>
                <c:pt idx="815">
                  <c:v>1.48987</c:v>
                </c:pt>
                <c:pt idx="816">
                  <c:v>1.6119950000000001</c:v>
                </c:pt>
                <c:pt idx="817">
                  <c:v>1.2441629999999999</c:v>
                </c:pt>
                <c:pt idx="818">
                  <c:v>1.2993980000000001</c:v>
                </c:pt>
                <c:pt idx="819">
                  <c:v>1.7758929999999999</c:v>
                </c:pt>
                <c:pt idx="820">
                  <c:v>1.6764190000000001</c:v>
                </c:pt>
                <c:pt idx="821">
                  <c:v>1.3426849999999999</c:v>
                </c:pt>
                <c:pt idx="822">
                  <c:v>1.9031579999999999</c:v>
                </c:pt>
                <c:pt idx="823">
                  <c:v>1.679225</c:v>
                </c:pt>
                <c:pt idx="824">
                  <c:v>1.5259320000000001</c:v>
                </c:pt>
                <c:pt idx="825">
                  <c:v>1.5063519999999999</c:v>
                </c:pt>
                <c:pt idx="826">
                  <c:v>1.6753070000000001</c:v>
                </c:pt>
                <c:pt idx="827">
                  <c:v>1.7993509999999999</c:v>
                </c:pt>
                <c:pt idx="828">
                  <c:v>1.3117669999999999</c:v>
                </c:pt>
                <c:pt idx="829">
                  <c:v>1.3883509999999999</c:v>
                </c:pt>
                <c:pt idx="830">
                  <c:v>1.7329619999999999</c:v>
                </c:pt>
                <c:pt idx="831">
                  <c:v>1.6417079999999999</c:v>
                </c:pt>
                <c:pt idx="832">
                  <c:v>1.401929</c:v>
                </c:pt>
                <c:pt idx="833">
                  <c:v>1.2342949999999999</c:v>
                </c:pt>
                <c:pt idx="834">
                  <c:v>1.234947</c:v>
                </c:pt>
                <c:pt idx="835">
                  <c:v>0.98720200000000002</c:v>
                </c:pt>
                <c:pt idx="836">
                  <c:v>1.0882780000000001</c:v>
                </c:pt>
                <c:pt idx="837">
                  <c:v>1.1062110000000001</c:v>
                </c:pt>
                <c:pt idx="838">
                  <c:v>1.165597</c:v>
                </c:pt>
                <c:pt idx="839">
                  <c:v>1.1546529999999999</c:v>
                </c:pt>
                <c:pt idx="840">
                  <c:v>1.363829</c:v>
                </c:pt>
                <c:pt idx="841">
                  <c:v>1.1920729999999999</c:v>
                </c:pt>
                <c:pt idx="842">
                  <c:v>1.686779</c:v>
                </c:pt>
                <c:pt idx="843">
                  <c:v>1.2440990000000001</c:v>
                </c:pt>
                <c:pt idx="844">
                  <c:v>1.1323000000000001</c:v>
                </c:pt>
                <c:pt idx="845">
                  <c:v>1.0895999999999999</c:v>
                </c:pt>
                <c:pt idx="846">
                  <c:v>1.1174139999999999</c:v>
                </c:pt>
                <c:pt idx="847">
                  <c:v>1.0814220000000001</c:v>
                </c:pt>
                <c:pt idx="848">
                  <c:v>1.231301</c:v>
                </c:pt>
                <c:pt idx="849">
                  <c:v>0</c:v>
                </c:pt>
                <c:pt idx="850">
                  <c:v>1.1508</c:v>
                </c:pt>
                <c:pt idx="851">
                  <c:v>1.6247849999999999</c:v>
                </c:pt>
                <c:pt idx="852">
                  <c:v>1.4143399999999999</c:v>
                </c:pt>
                <c:pt idx="853">
                  <c:v>1.533336</c:v>
                </c:pt>
                <c:pt idx="854">
                  <c:v>1.0652619999999999</c:v>
                </c:pt>
                <c:pt idx="855">
                  <c:v>1.525285</c:v>
                </c:pt>
                <c:pt idx="856">
                  <c:v>1.5813710000000001</c:v>
                </c:pt>
                <c:pt idx="857">
                  <c:v>1.680237</c:v>
                </c:pt>
                <c:pt idx="858">
                  <c:v>1.6486769999999999</c:v>
                </c:pt>
                <c:pt idx="859">
                  <c:v>2.0030540000000001</c:v>
                </c:pt>
                <c:pt idx="860">
                  <c:v>1.06657</c:v>
                </c:pt>
                <c:pt idx="861">
                  <c:v>1.271109</c:v>
                </c:pt>
                <c:pt idx="862">
                  <c:v>1.214113</c:v>
                </c:pt>
                <c:pt idx="863">
                  <c:v>1.247733</c:v>
                </c:pt>
                <c:pt idx="864">
                  <c:v>1.0392870000000001</c:v>
                </c:pt>
                <c:pt idx="865">
                  <c:v>1.1289629999999999</c:v>
                </c:pt>
                <c:pt idx="866">
                  <c:v>1.387907</c:v>
                </c:pt>
                <c:pt idx="867">
                  <c:v>2.287296</c:v>
                </c:pt>
                <c:pt idx="868">
                  <c:v>1.461911</c:v>
                </c:pt>
                <c:pt idx="869">
                  <c:v>1.3493390000000001</c:v>
                </c:pt>
                <c:pt idx="870">
                  <c:v>1.5335909999999999</c:v>
                </c:pt>
                <c:pt idx="871">
                  <c:v>1.5173399999999999</c:v>
                </c:pt>
                <c:pt idx="872">
                  <c:v>1.358339</c:v>
                </c:pt>
                <c:pt idx="873">
                  <c:v>0</c:v>
                </c:pt>
                <c:pt idx="874">
                  <c:v>1.3677239999999999</c:v>
                </c:pt>
                <c:pt idx="875">
                  <c:v>1.588117</c:v>
                </c:pt>
                <c:pt idx="876">
                  <c:v>1.137432</c:v>
                </c:pt>
                <c:pt idx="877">
                  <c:v>1.6679250000000001</c:v>
                </c:pt>
                <c:pt idx="878">
                  <c:v>1.486137</c:v>
                </c:pt>
                <c:pt idx="879">
                  <c:v>1.2001820000000001</c:v>
                </c:pt>
                <c:pt idx="880">
                  <c:v>1.3340069999999999</c:v>
                </c:pt>
                <c:pt idx="881">
                  <c:v>1.7301219999999999</c:v>
                </c:pt>
                <c:pt idx="882">
                  <c:v>1.365089</c:v>
                </c:pt>
                <c:pt idx="883">
                  <c:v>1.016062</c:v>
                </c:pt>
                <c:pt idx="884">
                  <c:v>1.0946469999999999</c:v>
                </c:pt>
                <c:pt idx="885">
                  <c:v>1.6376850000000001</c:v>
                </c:pt>
                <c:pt idx="886">
                  <c:v>1.4533119999999999</c:v>
                </c:pt>
                <c:pt idx="887">
                  <c:v>2.026618</c:v>
                </c:pt>
                <c:pt idx="888">
                  <c:v>1.1286560000000001</c:v>
                </c:pt>
                <c:pt idx="889">
                  <c:v>1.671659</c:v>
                </c:pt>
                <c:pt idx="890">
                  <c:v>1.498499</c:v>
                </c:pt>
                <c:pt idx="891">
                  <c:v>1.6741820000000001</c:v>
                </c:pt>
                <c:pt idx="892">
                  <c:v>2.222464</c:v>
                </c:pt>
                <c:pt idx="893">
                  <c:v>1.2453320000000001</c:v>
                </c:pt>
                <c:pt idx="894">
                  <c:v>1.3028010000000001</c:v>
                </c:pt>
                <c:pt idx="895">
                  <c:v>1.135149</c:v>
                </c:pt>
                <c:pt idx="896">
                  <c:v>0.97840899999999997</c:v>
                </c:pt>
                <c:pt idx="897">
                  <c:v>1.436661</c:v>
                </c:pt>
                <c:pt idx="898">
                  <c:v>1.133534</c:v>
                </c:pt>
                <c:pt idx="899">
                  <c:v>1.1379889999999999</c:v>
                </c:pt>
                <c:pt idx="900">
                  <c:v>1.0175289999999999</c:v>
                </c:pt>
                <c:pt idx="901">
                  <c:v>1.263342</c:v>
                </c:pt>
                <c:pt idx="902">
                  <c:v>1.39984</c:v>
                </c:pt>
                <c:pt idx="903">
                  <c:v>1.1514519999999999</c:v>
                </c:pt>
                <c:pt idx="904">
                  <c:v>1.1705099999999999</c:v>
                </c:pt>
                <c:pt idx="905">
                  <c:v>0.98271900000000001</c:v>
                </c:pt>
                <c:pt idx="906">
                  <c:v>1.2323139999999999</c:v>
                </c:pt>
                <c:pt idx="907">
                  <c:v>1.4074739999999999</c:v>
                </c:pt>
                <c:pt idx="908">
                  <c:v>1.40425</c:v>
                </c:pt>
                <c:pt idx="909">
                  <c:v>1.150277</c:v>
                </c:pt>
                <c:pt idx="910">
                  <c:v>1.393451</c:v>
                </c:pt>
                <c:pt idx="911">
                  <c:v>1.277204</c:v>
                </c:pt>
                <c:pt idx="912">
                  <c:v>1.0593729999999999</c:v>
                </c:pt>
                <c:pt idx="913">
                  <c:v>1.0084569999999999</c:v>
                </c:pt>
                <c:pt idx="914">
                  <c:v>0.92896999999999996</c:v>
                </c:pt>
                <c:pt idx="915">
                  <c:v>1.4085240000000001</c:v>
                </c:pt>
                <c:pt idx="916">
                  <c:v>1.1859230000000001</c:v>
                </c:pt>
                <c:pt idx="917">
                  <c:v>1.4910589999999999</c:v>
                </c:pt>
                <c:pt idx="918">
                  <c:v>0</c:v>
                </c:pt>
                <c:pt idx="919">
                  <c:v>0.95598300000000003</c:v>
                </c:pt>
                <c:pt idx="920">
                  <c:v>1.0996079999999999</c:v>
                </c:pt>
                <c:pt idx="921">
                  <c:v>1.226885</c:v>
                </c:pt>
                <c:pt idx="922">
                  <c:v>1.304084</c:v>
                </c:pt>
                <c:pt idx="923">
                  <c:v>1.2235579999999999</c:v>
                </c:pt>
                <c:pt idx="924">
                  <c:v>1.1798660000000001</c:v>
                </c:pt>
                <c:pt idx="925">
                  <c:v>1.556767</c:v>
                </c:pt>
                <c:pt idx="926">
                  <c:v>1.6049519999999999</c:v>
                </c:pt>
                <c:pt idx="927">
                  <c:v>1.315412</c:v>
                </c:pt>
                <c:pt idx="928">
                  <c:v>1.156612</c:v>
                </c:pt>
                <c:pt idx="929">
                  <c:v>1.3839729999999999</c:v>
                </c:pt>
                <c:pt idx="930">
                  <c:v>1.031083</c:v>
                </c:pt>
                <c:pt idx="931">
                  <c:v>1.5367360000000001</c:v>
                </c:pt>
                <c:pt idx="932">
                  <c:v>1.7824</c:v>
                </c:pt>
                <c:pt idx="933">
                  <c:v>1.6811640000000001</c:v>
                </c:pt>
                <c:pt idx="934">
                  <c:v>1.4607380000000001</c:v>
                </c:pt>
                <c:pt idx="935">
                  <c:v>1.2969679999999999</c:v>
                </c:pt>
                <c:pt idx="936">
                  <c:v>1.518386</c:v>
                </c:pt>
                <c:pt idx="937">
                  <c:v>1.727827</c:v>
                </c:pt>
                <c:pt idx="938">
                  <c:v>1.803814</c:v>
                </c:pt>
                <c:pt idx="939">
                  <c:v>1.2738160000000001</c:v>
                </c:pt>
                <c:pt idx="940">
                  <c:v>0.87635300000000005</c:v>
                </c:pt>
                <c:pt idx="941">
                  <c:v>0.95423400000000003</c:v>
                </c:pt>
                <c:pt idx="942">
                  <c:v>1.584042</c:v>
                </c:pt>
                <c:pt idx="943">
                  <c:v>0</c:v>
                </c:pt>
                <c:pt idx="944">
                  <c:v>1.2237629999999999</c:v>
                </c:pt>
                <c:pt idx="945">
                  <c:v>1.461624</c:v>
                </c:pt>
                <c:pt idx="946">
                  <c:v>1.2890330000000001</c:v>
                </c:pt>
                <c:pt idx="947">
                  <c:v>1.191443</c:v>
                </c:pt>
                <c:pt idx="948">
                  <c:v>1.054273</c:v>
                </c:pt>
                <c:pt idx="949">
                  <c:v>0.94459499999999996</c:v>
                </c:pt>
                <c:pt idx="950">
                  <c:v>1.0813090000000001</c:v>
                </c:pt>
                <c:pt idx="951">
                  <c:v>0.84035000000000004</c:v>
                </c:pt>
                <c:pt idx="952">
                  <c:v>0.89611399999999997</c:v>
                </c:pt>
                <c:pt idx="953">
                  <c:v>0.908219</c:v>
                </c:pt>
                <c:pt idx="954">
                  <c:v>1.241438</c:v>
                </c:pt>
                <c:pt idx="955">
                  <c:v>1.5971900000000001</c:v>
                </c:pt>
                <c:pt idx="956">
                  <c:v>1.688382</c:v>
                </c:pt>
                <c:pt idx="957">
                  <c:v>1.1579999999999999</c:v>
                </c:pt>
                <c:pt idx="958">
                  <c:v>1.1513180000000001</c:v>
                </c:pt>
                <c:pt idx="959">
                  <c:v>1.0218069999999999</c:v>
                </c:pt>
                <c:pt idx="960">
                  <c:v>1.066954</c:v>
                </c:pt>
                <c:pt idx="961">
                  <c:v>1.179325</c:v>
                </c:pt>
                <c:pt idx="962">
                  <c:v>1.2640279999999999</c:v>
                </c:pt>
                <c:pt idx="963">
                  <c:v>0.88268000000000002</c:v>
                </c:pt>
                <c:pt idx="964">
                  <c:v>1.7875239999999999</c:v>
                </c:pt>
                <c:pt idx="965">
                  <c:v>1.560746</c:v>
                </c:pt>
                <c:pt idx="966">
                  <c:v>0</c:v>
                </c:pt>
                <c:pt idx="967">
                  <c:v>1.418409</c:v>
                </c:pt>
                <c:pt idx="968">
                  <c:v>1.109059</c:v>
                </c:pt>
                <c:pt idx="969">
                  <c:v>1.517698</c:v>
                </c:pt>
                <c:pt idx="970">
                  <c:v>1.135356</c:v>
                </c:pt>
                <c:pt idx="971">
                  <c:v>1.5716129999999999</c:v>
                </c:pt>
                <c:pt idx="972">
                  <c:v>1.231107</c:v>
                </c:pt>
                <c:pt idx="973">
                  <c:v>1.3662529999999999</c:v>
                </c:pt>
                <c:pt idx="974">
                  <c:v>1.9331989999999999</c:v>
                </c:pt>
                <c:pt idx="975">
                  <c:v>0</c:v>
                </c:pt>
                <c:pt idx="976">
                  <c:v>1.2832159999999999</c:v>
                </c:pt>
                <c:pt idx="977">
                  <c:v>1.4346490000000001</c:v>
                </c:pt>
                <c:pt idx="978">
                  <c:v>1.1286799999999999</c:v>
                </c:pt>
                <c:pt idx="979">
                  <c:v>1.922059</c:v>
                </c:pt>
                <c:pt idx="980">
                  <c:v>1.5194049999999999</c:v>
                </c:pt>
                <c:pt idx="981">
                  <c:v>1.4355290000000001</c:v>
                </c:pt>
                <c:pt idx="982">
                  <c:v>0.98092599999999996</c:v>
                </c:pt>
                <c:pt idx="983">
                  <c:v>0.87447299999999994</c:v>
                </c:pt>
                <c:pt idx="984">
                  <c:v>0.79349700000000001</c:v>
                </c:pt>
                <c:pt idx="985">
                  <c:v>1.0105649999999999</c:v>
                </c:pt>
                <c:pt idx="986">
                  <c:v>1.0541609999999999</c:v>
                </c:pt>
                <c:pt idx="987">
                  <c:v>1.6984060000000001</c:v>
                </c:pt>
                <c:pt idx="988">
                  <c:v>1.4042330000000001</c:v>
                </c:pt>
                <c:pt idx="989">
                  <c:v>1.3833310000000001</c:v>
                </c:pt>
                <c:pt idx="990">
                  <c:v>3.0358930000000002</c:v>
                </c:pt>
                <c:pt idx="991">
                  <c:v>1.016721</c:v>
                </c:pt>
                <c:pt idx="992">
                  <c:v>0.98252700000000004</c:v>
                </c:pt>
                <c:pt idx="993">
                  <c:v>1.109421</c:v>
                </c:pt>
                <c:pt idx="994">
                  <c:v>1.0470010000000001</c:v>
                </c:pt>
                <c:pt idx="995">
                  <c:v>1.4570320000000001</c:v>
                </c:pt>
                <c:pt idx="996">
                  <c:v>1.4362079999999999</c:v>
                </c:pt>
                <c:pt idx="997">
                  <c:v>0</c:v>
                </c:pt>
                <c:pt idx="998">
                  <c:v>1.255946</c:v>
                </c:pt>
                <c:pt idx="999">
                  <c:v>1.4311510000000001</c:v>
                </c:pt>
                <c:pt idx="1000">
                  <c:v>1.9877359999999999</c:v>
                </c:pt>
                <c:pt idx="1001">
                  <c:v>1.9367460000000001</c:v>
                </c:pt>
                <c:pt idx="1002">
                  <c:v>0</c:v>
                </c:pt>
                <c:pt idx="1003">
                  <c:v>0</c:v>
                </c:pt>
                <c:pt idx="1004">
                  <c:v>0</c:v>
                </c:pt>
                <c:pt idx="1005">
                  <c:v>0</c:v>
                </c:pt>
                <c:pt idx="1006">
                  <c:v>1.0416799999999999</c:v>
                </c:pt>
                <c:pt idx="1007">
                  <c:v>1.506766</c:v>
                </c:pt>
                <c:pt idx="1008">
                  <c:v>1.308087</c:v>
                </c:pt>
                <c:pt idx="1009">
                  <c:v>1.1784829999999999</c:v>
                </c:pt>
                <c:pt idx="1010">
                  <c:v>0.98218300000000003</c:v>
                </c:pt>
                <c:pt idx="1011">
                  <c:v>0</c:v>
                </c:pt>
                <c:pt idx="1012">
                  <c:v>1.5036780000000001</c:v>
                </c:pt>
                <c:pt idx="1013">
                  <c:v>1.077799</c:v>
                </c:pt>
                <c:pt idx="1014">
                  <c:v>1.867658</c:v>
                </c:pt>
                <c:pt idx="1015">
                  <c:v>1.261439</c:v>
                </c:pt>
                <c:pt idx="1016">
                  <c:v>1.1671199999999999</c:v>
                </c:pt>
                <c:pt idx="1017">
                  <c:v>1.248521</c:v>
                </c:pt>
                <c:pt idx="1018">
                  <c:v>1.6475059999999999</c:v>
                </c:pt>
                <c:pt idx="1019">
                  <c:v>1.7802180000000001</c:v>
                </c:pt>
                <c:pt idx="1020">
                  <c:v>1.52257</c:v>
                </c:pt>
                <c:pt idx="1021">
                  <c:v>1.39279</c:v>
                </c:pt>
                <c:pt idx="1022">
                  <c:v>1.3477710000000001</c:v>
                </c:pt>
                <c:pt idx="1023">
                  <c:v>0.93577699999999997</c:v>
                </c:pt>
                <c:pt idx="1024">
                  <c:v>1.288538</c:v>
                </c:pt>
                <c:pt idx="1025">
                  <c:v>1.466558</c:v>
                </c:pt>
                <c:pt idx="1026">
                  <c:v>1.1589659999999999</c:v>
                </c:pt>
                <c:pt idx="1027">
                  <c:v>1.1395820000000001</c:v>
                </c:pt>
                <c:pt idx="1028">
                  <c:v>1.1001209999999999</c:v>
                </c:pt>
                <c:pt idx="1029">
                  <c:v>1.028791</c:v>
                </c:pt>
                <c:pt idx="1030">
                  <c:v>1.2466569999999999</c:v>
                </c:pt>
                <c:pt idx="1031">
                  <c:v>1.057442</c:v>
                </c:pt>
                <c:pt idx="1032">
                  <c:v>1.4258789999999999</c:v>
                </c:pt>
                <c:pt idx="1033">
                  <c:v>1.559814</c:v>
                </c:pt>
                <c:pt idx="1034">
                  <c:v>1.103362</c:v>
                </c:pt>
                <c:pt idx="1035">
                  <c:v>1.6128499999999999</c:v>
                </c:pt>
                <c:pt idx="1036">
                  <c:v>0</c:v>
                </c:pt>
                <c:pt idx="1037">
                  <c:v>1.3123359999999999</c:v>
                </c:pt>
                <c:pt idx="1038">
                  <c:v>1.170361</c:v>
                </c:pt>
                <c:pt idx="1039">
                  <c:v>0</c:v>
                </c:pt>
                <c:pt idx="1040">
                  <c:v>1.600096</c:v>
                </c:pt>
                <c:pt idx="1041">
                  <c:v>1.9108970000000001</c:v>
                </c:pt>
                <c:pt idx="1042">
                  <c:v>1.4540500000000001</c:v>
                </c:pt>
                <c:pt idx="1043">
                  <c:v>1.6351869999999999</c:v>
                </c:pt>
                <c:pt idx="1044">
                  <c:v>1.5001819999999999</c:v>
                </c:pt>
                <c:pt idx="1045">
                  <c:v>1.0529710000000001</c:v>
                </c:pt>
                <c:pt idx="1046">
                  <c:v>1.2969660000000001</c:v>
                </c:pt>
                <c:pt idx="1047">
                  <c:v>2.4568850000000002</c:v>
                </c:pt>
                <c:pt idx="1048">
                  <c:v>1.306934</c:v>
                </c:pt>
                <c:pt idx="1049">
                  <c:v>1.0950850000000001</c:v>
                </c:pt>
                <c:pt idx="1050">
                  <c:v>1.9099680000000001</c:v>
                </c:pt>
                <c:pt idx="1051">
                  <c:v>1.0270980000000001</c:v>
                </c:pt>
                <c:pt idx="1052">
                  <c:v>1.489417</c:v>
                </c:pt>
                <c:pt idx="1053">
                  <c:v>1.2674259999999999</c:v>
                </c:pt>
                <c:pt idx="1054">
                  <c:v>1.294027</c:v>
                </c:pt>
                <c:pt idx="1055">
                  <c:v>1.430145</c:v>
                </c:pt>
                <c:pt idx="1056">
                  <c:v>2.4665759999999999</c:v>
                </c:pt>
                <c:pt idx="1057">
                  <c:v>1.2730049999999999</c:v>
                </c:pt>
                <c:pt idx="1058">
                  <c:v>1.2400979999999999</c:v>
                </c:pt>
                <c:pt idx="1059">
                  <c:v>1.4510130000000001</c:v>
                </c:pt>
                <c:pt idx="1060">
                  <c:v>1.2958510000000001</c:v>
                </c:pt>
                <c:pt idx="1061">
                  <c:v>1.0488710000000001</c:v>
                </c:pt>
                <c:pt idx="1062">
                  <c:v>1.43798</c:v>
                </c:pt>
                <c:pt idx="1063">
                  <c:v>1.7057199999999999</c:v>
                </c:pt>
                <c:pt idx="1064">
                  <c:v>1.086622</c:v>
                </c:pt>
                <c:pt idx="1065">
                  <c:v>1.1996739999999999</c:v>
                </c:pt>
                <c:pt idx="1066">
                  <c:v>1.129842</c:v>
                </c:pt>
                <c:pt idx="1067">
                  <c:v>1.2187619999999999</c:v>
                </c:pt>
                <c:pt idx="1068">
                  <c:v>1.5785389999999999</c:v>
                </c:pt>
                <c:pt idx="1069">
                  <c:v>1.2896430000000001</c:v>
                </c:pt>
                <c:pt idx="1070">
                  <c:v>1.015163</c:v>
                </c:pt>
                <c:pt idx="1071">
                  <c:v>1.0195540000000001</c:v>
                </c:pt>
                <c:pt idx="1072">
                  <c:v>1.251506</c:v>
                </c:pt>
                <c:pt idx="1073">
                  <c:v>0.73540300000000003</c:v>
                </c:pt>
                <c:pt idx="1074">
                  <c:v>0.88206700000000005</c:v>
                </c:pt>
                <c:pt idx="1075">
                  <c:v>1.0131220000000001</c:v>
                </c:pt>
                <c:pt idx="1076">
                  <c:v>1.132069</c:v>
                </c:pt>
                <c:pt idx="1077">
                  <c:v>0.987479</c:v>
                </c:pt>
                <c:pt idx="1078">
                  <c:v>0.84358100000000003</c:v>
                </c:pt>
                <c:pt idx="1079">
                  <c:v>1.4566760000000001</c:v>
                </c:pt>
                <c:pt idx="1080">
                  <c:v>1.062913</c:v>
                </c:pt>
                <c:pt idx="1081">
                  <c:v>1.639141</c:v>
                </c:pt>
                <c:pt idx="1082">
                  <c:v>1.480405</c:v>
                </c:pt>
                <c:pt idx="1083">
                  <c:v>1.439235</c:v>
                </c:pt>
                <c:pt idx="1084">
                  <c:v>1.019374</c:v>
                </c:pt>
                <c:pt idx="1085">
                  <c:v>0.98800299999999996</c:v>
                </c:pt>
                <c:pt idx="1086">
                  <c:v>1.6031850000000001</c:v>
                </c:pt>
                <c:pt idx="1087">
                  <c:v>1.7551859999999999</c:v>
                </c:pt>
                <c:pt idx="1088">
                  <c:v>1.070435</c:v>
                </c:pt>
                <c:pt idx="1089">
                  <c:v>1.2770630000000001</c:v>
                </c:pt>
                <c:pt idx="1090">
                  <c:v>0.96251200000000003</c:v>
                </c:pt>
                <c:pt idx="1091">
                  <c:v>1.401273</c:v>
                </c:pt>
                <c:pt idx="1092">
                  <c:v>1.01529</c:v>
                </c:pt>
                <c:pt idx="1093">
                  <c:v>1.413953</c:v>
                </c:pt>
                <c:pt idx="1094">
                  <c:v>1.7608520000000001</c:v>
                </c:pt>
                <c:pt idx="1095">
                  <c:v>1.3593710000000001</c:v>
                </c:pt>
                <c:pt idx="1096">
                  <c:v>1.268562</c:v>
                </c:pt>
                <c:pt idx="1097">
                  <c:v>1.4109609999999999</c:v>
                </c:pt>
                <c:pt idx="1098">
                  <c:v>1.2281869999999999</c:v>
                </c:pt>
                <c:pt idx="1099">
                  <c:v>2.072092</c:v>
                </c:pt>
                <c:pt idx="1100">
                  <c:v>1.3389770000000001</c:v>
                </c:pt>
                <c:pt idx="1101">
                  <c:v>0</c:v>
                </c:pt>
                <c:pt idx="1102">
                  <c:v>1.0383340000000001</c:v>
                </c:pt>
                <c:pt idx="1103">
                  <c:v>1.368328</c:v>
                </c:pt>
                <c:pt idx="1104">
                  <c:v>0.98592100000000005</c:v>
                </c:pt>
                <c:pt idx="1105">
                  <c:v>1.2906599999999999</c:v>
                </c:pt>
                <c:pt idx="1106">
                  <c:v>1.1339920000000001</c:v>
                </c:pt>
                <c:pt idx="1107">
                  <c:v>1.1575120000000001</c:v>
                </c:pt>
                <c:pt idx="1108">
                  <c:v>0.833924</c:v>
                </c:pt>
                <c:pt idx="1109">
                  <c:v>1.265436</c:v>
                </c:pt>
                <c:pt idx="1110">
                  <c:v>0.89883199999999996</c:v>
                </c:pt>
                <c:pt idx="1111">
                  <c:v>0.97453999999999996</c:v>
                </c:pt>
                <c:pt idx="1112">
                  <c:v>1.4072549999999999</c:v>
                </c:pt>
                <c:pt idx="1113">
                  <c:v>1.7241550000000001</c:v>
                </c:pt>
                <c:pt idx="1114">
                  <c:v>1.390585</c:v>
                </c:pt>
                <c:pt idx="1115">
                  <c:v>1.605782</c:v>
                </c:pt>
                <c:pt idx="1116">
                  <c:v>2.0136859999999999</c:v>
                </c:pt>
                <c:pt idx="1117">
                  <c:v>2.1033529999999998</c:v>
                </c:pt>
                <c:pt idx="1118">
                  <c:v>1.622635</c:v>
                </c:pt>
                <c:pt idx="1119">
                  <c:v>1.2289140000000001</c:v>
                </c:pt>
                <c:pt idx="1120">
                  <c:v>1.5320750000000001</c:v>
                </c:pt>
                <c:pt idx="1121">
                  <c:v>1.411902</c:v>
                </c:pt>
                <c:pt idx="1122">
                  <c:v>1.749093</c:v>
                </c:pt>
                <c:pt idx="1123">
                  <c:v>1.3160480000000001</c:v>
                </c:pt>
                <c:pt idx="1124">
                  <c:v>1.7537640000000001</c:v>
                </c:pt>
                <c:pt idx="1125">
                  <c:v>1.0799259999999999</c:v>
                </c:pt>
                <c:pt idx="1126">
                  <c:v>0</c:v>
                </c:pt>
                <c:pt idx="1127">
                  <c:v>1.688669</c:v>
                </c:pt>
                <c:pt idx="1128">
                  <c:v>1.3047930000000001</c:v>
                </c:pt>
                <c:pt idx="1129">
                  <c:v>1.4426289999999999</c:v>
                </c:pt>
                <c:pt idx="1130">
                  <c:v>1.1013679999999999</c:v>
                </c:pt>
                <c:pt idx="1131">
                  <c:v>1.5436879999999999</c:v>
                </c:pt>
                <c:pt idx="1132">
                  <c:v>1.2660469999999999</c:v>
                </c:pt>
                <c:pt idx="1133">
                  <c:v>1.4987299999999999</c:v>
                </c:pt>
                <c:pt idx="1134">
                  <c:v>1.5026010000000001</c:v>
                </c:pt>
                <c:pt idx="1135">
                  <c:v>1.412776</c:v>
                </c:pt>
                <c:pt idx="1136">
                  <c:v>1.207857</c:v>
                </c:pt>
                <c:pt idx="1137">
                  <c:v>1.399777</c:v>
                </c:pt>
                <c:pt idx="1138">
                  <c:v>1.0153589999999999</c:v>
                </c:pt>
                <c:pt idx="1139">
                  <c:v>1.206188</c:v>
                </c:pt>
                <c:pt idx="1140">
                  <c:v>2.112079</c:v>
                </c:pt>
                <c:pt idx="1141">
                  <c:v>1.668461</c:v>
                </c:pt>
                <c:pt idx="1142">
                  <c:v>1.019722</c:v>
                </c:pt>
                <c:pt idx="1143">
                  <c:v>1.2160530000000001</c:v>
                </c:pt>
                <c:pt idx="1144">
                  <c:v>1.3072429999999999</c:v>
                </c:pt>
                <c:pt idx="1145">
                  <c:v>1.6575979999999999</c:v>
                </c:pt>
                <c:pt idx="1146">
                  <c:v>1.138503</c:v>
                </c:pt>
                <c:pt idx="1147">
                  <c:v>1.097183</c:v>
                </c:pt>
                <c:pt idx="1148">
                  <c:v>1.1480189999999999</c:v>
                </c:pt>
                <c:pt idx="1149">
                  <c:v>1.03728</c:v>
                </c:pt>
                <c:pt idx="1150">
                  <c:v>1.0917380000000001</c:v>
                </c:pt>
                <c:pt idx="1151">
                  <c:v>0.96585200000000004</c:v>
                </c:pt>
                <c:pt idx="1152">
                  <c:v>1.007763</c:v>
                </c:pt>
                <c:pt idx="1153">
                  <c:v>0.94254300000000002</c:v>
                </c:pt>
                <c:pt idx="1154">
                  <c:v>1.194202</c:v>
                </c:pt>
                <c:pt idx="1155">
                  <c:v>0.90014099999999997</c:v>
                </c:pt>
                <c:pt idx="1156">
                  <c:v>0.95450199999999996</c:v>
                </c:pt>
                <c:pt idx="1157">
                  <c:v>0.897316</c:v>
                </c:pt>
                <c:pt idx="1158">
                  <c:v>1.026165</c:v>
                </c:pt>
                <c:pt idx="1159">
                  <c:v>0.97222799999999998</c:v>
                </c:pt>
                <c:pt idx="1160">
                  <c:v>0.86924999999999997</c:v>
                </c:pt>
                <c:pt idx="1161">
                  <c:v>0.840472</c:v>
                </c:pt>
                <c:pt idx="1162">
                  <c:v>0.87696499999999999</c:v>
                </c:pt>
                <c:pt idx="1163">
                  <c:v>0.82062999999999997</c:v>
                </c:pt>
                <c:pt idx="1164">
                  <c:v>0.96093499999999998</c:v>
                </c:pt>
                <c:pt idx="1165">
                  <c:v>1.433071</c:v>
                </c:pt>
                <c:pt idx="1166">
                  <c:v>1.28274</c:v>
                </c:pt>
                <c:pt idx="1167">
                  <c:v>1.174884</c:v>
                </c:pt>
                <c:pt idx="1168">
                  <c:v>1.412075</c:v>
                </c:pt>
                <c:pt idx="1169">
                  <c:v>1.2794110000000001</c:v>
                </c:pt>
                <c:pt idx="1170">
                  <c:v>0</c:v>
                </c:pt>
                <c:pt idx="1171">
                  <c:v>0.95321299999999998</c:v>
                </c:pt>
                <c:pt idx="1172">
                  <c:v>0.90195400000000003</c:v>
                </c:pt>
                <c:pt idx="1173">
                  <c:v>1.1739360000000001</c:v>
                </c:pt>
                <c:pt idx="1174">
                  <c:v>1.262211</c:v>
                </c:pt>
                <c:pt idx="1175">
                  <c:v>0.91023200000000004</c:v>
                </c:pt>
                <c:pt idx="1176">
                  <c:v>1.119378</c:v>
                </c:pt>
                <c:pt idx="1177">
                  <c:v>1.2093320000000001</c:v>
                </c:pt>
                <c:pt idx="1178">
                  <c:v>1.096592</c:v>
                </c:pt>
                <c:pt idx="1179">
                  <c:v>1.165454</c:v>
                </c:pt>
                <c:pt idx="1180">
                  <c:v>1.182067</c:v>
                </c:pt>
                <c:pt idx="1181">
                  <c:v>1.2305379999999999</c:v>
                </c:pt>
                <c:pt idx="1182">
                  <c:v>1.1445559999999999</c:v>
                </c:pt>
                <c:pt idx="1183">
                  <c:v>1.1386019999999999</c:v>
                </c:pt>
                <c:pt idx="1184">
                  <c:v>1.4068689999999999</c:v>
                </c:pt>
                <c:pt idx="1185">
                  <c:v>1.744148</c:v>
                </c:pt>
                <c:pt idx="1186">
                  <c:v>1.251749</c:v>
                </c:pt>
                <c:pt idx="1187">
                  <c:v>1.874438</c:v>
                </c:pt>
                <c:pt idx="1188">
                  <c:v>1.415214</c:v>
                </c:pt>
                <c:pt idx="1189">
                  <c:v>1.474513</c:v>
                </c:pt>
                <c:pt idx="1190">
                  <c:v>1.0311349999999999</c:v>
                </c:pt>
                <c:pt idx="1191">
                  <c:v>1.018284</c:v>
                </c:pt>
                <c:pt idx="1192">
                  <c:v>0.73888699999999996</c:v>
                </c:pt>
                <c:pt idx="1193">
                  <c:v>0.86231199999999997</c:v>
                </c:pt>
                <c:pt idx="1194">
                  <c:v>1.6627529999999999</c:v>
                </c:pt>
                <c:pt idx="1195">
                  <c:v>0</c:v>
                </c:pt>
                <c:pt idx="1196">
                  <c:v>0.99978400000000001</c:v>
                </c:pt>
                <c:pt idx="1197">
                  <c:v>1.018389</c:v>
                </c:pt>
                <c:pt idx="1198">
                  <c:v>0.93702700000000005</c:v>
                </c:pt>
                <c:pt idx="1199">
                  <c:v>1.064905</c:v>
                </c:pt>
                <c:pt idx="1200">
                  <c:v>0.88990000000000002</c:v>
                </c:pt>
                <c:pt idx="1201">
                  <c:v>0.99909000000000003</c:v>
                </c:pt>
                <c:pt idx="1202">
                  <c:v>0.79373899999999997</c:v>
                </c:pt>
                <c:pt idx="1203">
                  <c:v>1.1023810000000001</c:v>
                </c:pt>
                <c:pt idx="1204">
                  <c:v>1.073658</c:v>
                </c:pt>
                <c:pt idx="1205">
                  <c:v>1.116703</c:v>
                </c:pt>
                <c:pt idx="1206">
                  <c:v>1.271889</c:v>
                </c:pt>
                <c:pt idx="1207">
                  <c:v>1.9179120000000001</c:v>
                </c:pt>
                <c:pt idx="1208">
                  <c:v>1.119855</c:v>
                </c:pt>
                <c:pt idx="1209">
                  <c:v>1.7153890000000001</c:v>
                </c:pt>
                <c:pt idx="1210">
                  <c:v>1.095431</c:v>
                </c:pt>
                <c:pt idx="1211">
                  <c:v>1.599207</c:v>
                </c:pt>
                <c:pt idx="1212">
                  <c:v>0.88307800000000003</c:v>
                </c:pt>
                <c:pt idx="1213">
                  <c:v>0.79719300000000004</c:v>
                </c:pt>
                <c:pt idx="1214">
                  <c:v>1.211748</c:v>
                </c:pt>
                <c:pt idx="1215">
                  <c:v>1.396644</c:v>
                </c:pt>
                <c:pt idx="1216">
                  <c:v>1.397057</c:v>
                </c:pt>
                <c:pt idx="1217">
                  <c:v>0.99672000000000005</c:v>
                </c:pt>
                <c:pt idx="1218">
                  <c:v>0.923709</c:v>
                </c:pt>
                <c:pt idx="1219">
                  <c:v>1.094519</c:v>
                </c:pt>
                <c:pt idx="1220">
                  <c:v>1.039113</c:v>
                </c:pt>
                <c:pt idx="1221">
                  <c:v>1.131491</c:v>
                </c:pt>
                <c:pt idx="1222">
                  <c:v>0.94864400000000004</c:v>
                </c:pt>
                <c:pt idx="1223">
                  <c:v>1.303939</c:v>
                </c:pt>
                <c:pt idx="1224">
                  <c:v>1.0548569999999999</c:v>
                </c:pt>
                <c:pt idx="1225">
                  <c:v>0.86068900000000004</c:v>
                </c:pt>
                <c:pt idx="1226">
                  <c:v>1.0866150000000001</c:v>
                </c:pt>
                <c:pt idx="1227">
                  <c:v>0</c:v>
                </c:pt>
                <c:pt idx="1228">
                  <c:v>1.1436440000000001</c:v>
                </c:pt>
                <c:pt idx="1229">
                  <c:v>1.351918</c:v>
                </c:pt>
                <c:pt idx="1230">
                  <c:v>1.360862</c:v>
                </c:pt>
                <c:pt idx="1231">
                  <c:v>1.181997</c:v>
                </c:pt>
                <c:pt idx="1232">
                  <c:v>1.5085869999999999</c:v>
                </c:pt>
                <c:pt idx="1233">
                  <c:v>0.93598999999999999</c:v>
                </c:pt>
                <c:pt idx="1234">
                  <c:v>1.0664</c:v>
                </c:pt>
                <c:pt idx="1235">
                  <c:v>1.147249</c:v>
                </c:pt>
                <c:pt idx="1236">
                  <c:v>1.0564279999999999</c:v>
                </c:pt>
                <c:pt idx="1237">
                  <c:v>1.1623030000000001</c:v>
                </c:pt>
                <c:pt idx="1238">
                  <c:v>0.82655900000000004</c:v>
                </c:pt>
                <c:pt idx="1239">
                  <c:v>0.92266999999999999</c:v>
                </c:pt>
                <c:pt idx="1240">
                  <c:v>0.92990300000000004</c:v>
                </c:pt>
                <c:pt idx="1241">
                  <c:v>1.1781729999999999</c:v>
                </c:pt>
                <c:pt idx="1242">
                  <c:v>1.128098</c:v>
                </c:pt>
                <c:pt idx="1243">
                  <c:v>1.3950929999999999</c:v>
                </c:pt>
                <c:pt idx="1244">
                  <c:v>1.1585540000000001</c:v>
                </c:pt>
                <c:pt idx="1245">
                  <c:v>1.2387980000000001</c:v>
                </c:pt>
                <c:pt idx="1246">
                  <c:v>1.2221789999999999</c:v>
                </c:pt>
                <c:pt idx="1247">
                  <c:v>1.273355</c:v>
                </c:pt>
                <c:pt idx="1248">
                  <c:v>1.5859430000000001</c:v>
                </c:pt>
                <c:pt idx="1249">
                  <c:v>0</c:v>
                </c:pt>
                <c:pt idx="1250">
                  <c:v>1.3988</c:v>
                </c:pt>
                <c:pt idx="1251">
                  <c:v>1.808921</c:v>
                </c:pt>
                <c:pt idx="1252">
                  <c:v>1.7234910000000001</c:v>
                </c:pt>
                <c:pt idx="1253">
                  <c:v>1.495706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1.0645009999999999</c:v>
                </c:pt>
                <c:pt idx="1258">
                  <c:v>1.2722450000000001</c:v>
                </c:pt>
                <c:pt idx="1259">
                  <c:v>1.121621</c:v>
                </c:pt>
                <c:pt idx="1260">
                  <c:v>1.0264519999999999</c:v>
                </c:pt>
                <c:pt idx="1261">
                  <c:v>0</c:v>
                </c:pt>
                <c:pt idx="1262">
                  <c:v>0.90464</c:v>
                </c:pt>
                <c:pt idx="1263">
                  <c:v>1.952896</c:v>
                </c:pt>
                <c:pt idx="1264">
                  <c:v>0.99807000000000001</c:v>
                </c:pt>
                <c:pt idx="1265">
                  <c:v>0.97112399999999999</c:v>
                </c:pt>
                <c:pt idx="1266">
                  <c:v>0.99854600000000004</c:v>
                </c:pt>
                <c:pt idx="1267">
                  <c:v>1.0406489999999999</c:v>
                </c:pt>
                <c:pt idx="1268">
                  <c:v>1.352252</c:v>
                </c:pt>
                <c:pt idx="1269">
                  <c:v>1.904471</c:v>
                </c:pt>
                <c:pt idx="1270">
                  <c:v>1.1028249999999999</c:v>
                </c:pt>
                <c:pt idx="1271">
                  <c:v>1.4475260000000001</c:v>
                </c:pt>
                <c:pt idx="1272">
                  <c:v>1.343621</c:v>
                </c:pt>
                <c:pt idx="1273">
                  <c:v>1.160156</c:v>
                </c:pt>
                <c:pt idx="1274">
                  <c:v>1.194515</c:v>
                </c:pt>
                <c:pt idx="1275">
                  <c:v>1.2577910000000001</c:v>
                </c:pt>
                <c:pt idx="1276">
                  <c:v>0.97871600000000003</c:v>
                </c:pt>
                <c:pt idx="1277">
                  <c:v>1.3566929999999999</c:v>
                </c:pt>
                <c:pt idx="1278">
                  <c:v>0.98590599999999995</c:v>
                </c:pt>
                <c:pt idx="1279">
                  <c:v>1.2328319999999999</c:v>
                </c:pt>
                <c:pt idx="1280">
                  <c:v>1.2983089999999999</c:v>
                </c:pt>
                <c:pt idx="1281">
                  <c:v>1.1045940000000001</c:v>
                </c:pt>
                <c:pt idx="1282">
                  <c:v>0.86369200000000002</c:v>
                </c:pt>
                <c:pt idx="1283">
                  <c:v>1.358948</c:v>
                </c:pt>
                <c:pt idx="1284">
                  <c:v>1.261344</c:v>
                </c:pt>
                <c:pt idx="1285">
                  <c:v>1.128031</c:v>
                </c:pt>
                <c:pt idx="1286">
                  <c:v>0</c:v>
                </c:pt>
                <c:pt idx="1287">
                  <c:v>1.339987</c:v>
                </c:pt>
                <c:pt idx="1288">
                  <c:v>1.041029</c:v>
                </c:pt>
                <c:pt idx="1289">
                  <c:v>1.2635110000000001</c:v>
                </c:pt>
                <c:pt idx="1290">
                  <c:v>2.2267459999999999</c:v>
                </c:pt>
                <c:pt idx="1291">
                  <c:v>1.550546</c:v>
                </c:pt>
                <c:pt idx="1292">
                  <c:v>1.5433730000000001</c:v>
                </c:pt>
                <c:pt idx="1293">
                  <c:v>1.115297</c:v>
                </c:pt>
                <c:pt idx="1294">
                  <c:v>1.3920060000000001</c:v>
                </c:pt>
                <c:pt idx="1295">
                  <c:v>1.1786399999999999</c:v>
                </c:pt>
                <c:pt idx="1296">
                  <c:v>1.2893699999999999</c:v>
                </c:pt>
                <c:pt idx="1297">
                  <c:v>1.2268300000000001</c:v>
                </c:pt>
                <c:pt idx="1298">
                  <c:v>0</c:v>
                </c:pt>
                <c:pt idx="1299">
                  <c:v>1.147302</c:v>
                </c:pt>
                <c:pt idx="1300">
                  <c:v>1.315286</c:v>
                </c:pt>
                <c:pt idx="1301">
                  <c:v>1.134601</c:v>
                </c:pt>
                <c:pt idx="1302">
                  <c:v>1.254713</c:v>
                </c:pt>
                <c:pt idx="1303">
                  <c:v>1.302427</c:v>
                </c:pt>
                <c:pt idx="1304">
                  <c:v>1.338503</c:v>
                </c:pt>
                <c:pt idx="1305">
                  <c:v>0.96530800000000005</c:v>
                </c:pt>
                <c:pt idx="1306">
                  <c:v>0.81312700000000004</c:v>
                </c:pt>
                <c:pt idx="1307">
                  <c:v>1.1769430000000001</c:v>
                </c:pt>
                <c:pt idx="1308">
                  <c:v>1.308411</c:v>
                </c:pt>
                <c:pt idx="1309">
                  <c:v>1.277854</c:v>
                </c:pt>
                <c:pt idx="1310">
                  <c:v>1.4476249999999999</c:v>
                </c:pt>
                <c:pt idx="1311">
                  <c:v>1.5397419999999999</c:v>
                </c:pt>
                <c:pt idx="1312">
                  <c:v>1.5662700000000001</c:v>
                </c:pt>
                <c:pt idx="1313">
                  <c:v>0.84615200000000002</c:v>
                </c:pt>
                <c:pt idx="1314">
                  <c:v>0.86866699999999997</c:v>
                </c:pt>
                <c:pt idx="1315">
                  <c:v>0.90746000000000004</c:v>
                </c:pt>
                <c:pt idx="1316">
                  <c:v>1.081148</c:v>
                </c:pt>
                <c:pt idx="1317">
                  <c:v>0.94296800000000003</c:v>
                </c:pt>
                <c:pt idx="1318">
                  <c:v>1.415178</c:v>
                </c:pt>
                <c:pt idx="1319">
                  <c:v>3.0364239999999998</c:v>
                </c:pt>
                <c:pt idx="1320">
                  <c:v>3.8461080000000001</c:v>
                </c:pt>
                <c:pt idx="1321">
                  <c:v>2.247474</c:v>
                </c:pt>
                <c:pt idx="1322">
                  <c:v>1.2349570000000001</c:v>
                </c:pt>
                <c:pt idx="1323">
                  <c:v>1.030562</c:v>
                </c:pt>
                <c:pt idx="1324">
                  <c:v>1.141521</c:v>
                </c:pt>
                <c:pt idx="1325">
                  <c:v>1.1479919999999999</c:v>
                </c:pt>
                <c:pt idx="1326">
                  <c:v>1.116965</c:v>
                </c:pt>
                <c:pt idx="1327">
                  <c:v>1.1815659999999999</c:v>
                </c:pt>
                <c:pt idx="1328">
                  <c:v>1.3912260000000001</c:v>
                </c:pt>
                <c:pt idx="1329">
                  <c:v>1.466132</c:v>
                </c:pt>
                <c:pt idx="1330">
                  <c:v>0.98362499999999997</c:v>
                </c:pt>
                <c:pt idx="1331">
                  <c:v>1.7468919999999999</c:v>
                </c:pt>
                <c:pt idx="1332">
                  <c:v>1.660331</c:v>
                </c:pt>
                <c:pt idx="1333">
                  <c:v>1.4882379999999999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1.7648999999999999</c:v>
                </c:pt>
                <c:pt idx="1338">
                  <c:v>1.192091</c:v>
                </c:pt>
                <c:pt idx="1339">
                  <c:v>0.94589000000000001</c:v>
                </c:pt>
                <c:pt idx="1340">
                  <c:v>1.280797</c:v>
                </c:pt>
                <c:pt idx="1341">
                  <c:v>1.2315849999999999</c:v>
                </c:pt>
                <c:pt idx="1342">
                  <c:v>0.95732099999999998</c:v>
                </c:pt>
                <c:pt idx="1343">
                  <c:v>0.88314800000000004</c:v>
                </c:pt>
                <c:pt idx="1344">
                  <c:v>1.7647619999999999</c:v>
                </c:pt>
                <c:pt idx="1345">
                  <c:v>1.1517539999999999</c:v>
                </c:pt>
                <c:pt idx="1346">
                  <c:v>1.227935</c:v>
                </c:pt>
                <c:pt idx="1347">
                  <c:v>1.110304</c:v>
                </c:pt>
                <c:pt idx="1348">
                  <c:v>1.238348</c:v>
                </c:pt>
                <c:pt idx="1349">
                  <c:v>1.353618</c:v>
                </c:pt>
                <c:pt idx="1350">
                  <c:v>1.6573789999999999</c:v>
                </c:pt>
                <c:pt idx="1351">
                  <c:v>1.256761</c:v>
                </c:pt>
                <c:pt idx="1352">
                  <c:v>1.267916</c:v>
                </c:pt>
                <c:pt idx="1353">
                  <c:v>0</c:v>
                </c:pt>
                <c:pt idx="1354">
                  <c:v>1.302773</c:v>
                </c:pt>
                <c:pt idx="1355">
                  <c:v>1.2244429999999999</c:v>
                </c:pt>
                <c:pt idx="1356">
                  <c:v>1.7286919999999999</c:v>
                </c:pt>
                <c:pt idx="1357">
                  <c:v>0.96608099999999997</c:v>
                </c:pt>
                <c:pt idx="1358">
                  <c:v>0.925091</c:v>
                </c:pt>
                <c:pt idx="1359">
                  <c:v>1.209063</c:v>
                </c:pt>
                <c:pt idx="1360">
                  <c:v>0.95306999999999997</c:v>
                </c:pt>
                <c:pt idx="1361">
                  <c:v>0.932064</c:v>
                </c:pt>
                <c:pt idx="1362">
                  <c:v>1.5150939999999999</c:v>
                </c:pt>
                <c:pt idx="1363">
                  <c:v>0</c:v>
                </c:pt>
                <c:pt idx="1364">
                  <c:v>0</c:v>
                </c:pt>
                <c:pt idx="1365">
                  <c:v>1.6090880000000001</c:v>
                </c:pt>
                <c:pt idx="1366">
                  <c:v>1.438463</c:v>
                </c:pt>
                <c:pt idx="1367">
                  <c:v>1.5495410000000001</c:v>
                </c:pt>
                <c:pt idx="1368">
                  <c:v>1.349664</c:v>
                </c:pt>
                <c:pt idx="1369">
                  <c:v>1.587701</c:v>
                </c:pt>
                <c:pt idx="1370">
                  <c:v>1.132131</c:v>
                </c:pt>
                <c:pt idx="1371">
                  <c:v>1.593704</c:v>
                </c:pt>
                <c:pt idx="1372">
                  <c:v>1.359442</c:v>
                </c:pt>
                <c:pt idx="1373">
                  <c:v>1.570282</c:v>
                </c:pt>
                <c:pt idx="1374">
                  <c:v>1.4247339999999999</c:v>
                </c:pt>
                <c:pt idx="1375">
                  <c:v>1.389229</c:v>
                </c:pt>
                <c:pt idx="1376">
                  <c:v>1.40286</c:v>
                </c:pt>
                <c:pt idx="1377">
                  <c:v>1.490691</c:v>
                </c:pt>
                <c:pt idx="1378">
                  <c:v>0.97342200000000001</c:v>
                </c:pt>
                <c:pt idx="1379">
                  <c:v>0.870695</c:v>
                </c:pt>
                <c:pt idx="1380">
                  <c:v>0</c:v>
                </c:pt>
                <c:pt idx="1381">
                  <c:v>0.91836499999999999</c:v>
                </c:pt>
                <c:pt idx="1382">
                  <c:v>0.89327100000000004</c:v>
                </c:pt>
                <c:pt idx="1383">
                  <c:v>0.86746599999999996</c:v>
                </c:pt>
                <c:pt idx="1384">
                  <c:v>1.0837760000000001</c:v>
                </c:pt>
                <c:pt idx="1385">
                  <c:v>1.2315469999999999</c:v>
                </c:pt>
                <c:pt idx="1386">
                  <c:v>1.1224240000000001</c:v>
                </c:pt>
                <c:pt idx="1387">
                  <c:v>1.067086</c:v>
                </c:pt>
                <c:pt idx="1388">
                  <c:v>0.77687899999999999</c:v>
                </c:pt>
                <c:pt idx="1389">
                  <c:v>1.0009779999999999</c:v>
                </c:pt>
                <c:pt idx="1390">
                  <c:v>1.204094</c:v>
                </c:pt>
                <c:pt idx="1391">
                  <c:v>1.4723489999999999</c:v>
                </c:pt>
                <c:pt idx="1392">
                  <c:v>1.2250380000000001</c:v>
                </c:pt>
                <c:pt idx="1393">
                  <c:v>1.2090890000000001</c:v>
                </c:pt>
                <c:pt idx="1394">
                  <c:v>1.0696870000000001</c:v>
                </c:pt>
                <c:pt idx="1395">
                  <c:v>1.7758039999999999</c:v>
                </c:pt>
                <c:pt idx="1396">
                  <c:v>1.3440879999999999</c:v>
                </c:pt>
                <c:pt idx="1397">
                  <c:v>1.1836420000000001</c:v>
                </c:pt>
                <c:pt idx="1398">
                  <c:v>1.3647450000000001</c:v>
                </c:pt>
                <c:pt idx="1399">
                  <c:v>1.3004</c:v>
                </c:pt>
                <c:pt idx="1400">
                  <c:v>1.020111</c:v>
                </c:pt>
                <c:pt idx="1401">
                  <c:v>1.044969</c:v>
                </c:pt>
                <c:pt idx="1402">
                  <c:v>0.94704999999999995</c:v>
                </c:pt>
                <c:pt idx="1403">
                  <c:v>0.93607600000000002</c:v>
                </c:pt>
                <c:pt idx="1404">
                  <c:v>0.68506900000000004</c:v>
                </c:pt>
                <c:pt idx="1405">
                  <c:v>1.71469</c:v>
                </c:pt>
                <c:pt idx="1406">
                  <c:v>1.6994009999999999</c:v>
                </c:pt>
                <c:pt idx="1407">
                  <c:v>1.5815790000000001</c:v>
                </c:pt>
                <c:pt idx="1408">
                  <c:v>1.3587499999999999</c:v>
                </c:pt>
                <c:pt idx="1409">
                  <c:v>1.237385</c:v>
                </c:pt>
                <c:pt idx="1410">
                  <c:v>1.0484009999999999</c:v>
                </c:pt>
                <c:pt idx="1411">
                  <c:v>0.92105599999999999</c:v>
                </c:pt>
                <c:pt idx="1412">
                  <c:v>1.0442070000000001</c:v>
                </c:pt>
                <c:pt idx="1413">
                  <c:v>0.86957300000000004</c:v>
                </c:pt>
                <c:pt idx="1414">
                  <c:v>0.94257000000000002</c:v>
                </c:pt>
                <c:pt idx="1415">
                  <c:v>1.4400569999999999</c:v>
                </c:pt>
                <c:pt idx="1416">
                  <c:v>1.901289</c:v>
                </c:pt>
                <c:pt idx="1417">
                  <c:v>1.274975</c:v>
                </c:pt>
                <c:pt idx="1418">
                  <c:v>1.1011010000000001</c:v>
                </c:pt>
                <c:pt idx="1419">
                  <c:v>0.89590000000000003</c:v>
                </c:pt>
                <c:pt idx="1420">
                  <c:v>1.1237980000000001</c:v>
                </c:pt>
                <c:pt idx="1421">
                  <c:v>1.2175480000000001</c:v>
                </c:pt>
                <c:pt idx="1422">
                  <c:v>1.4128369999999999</c:v>
                </c:pt>
                <c:pt idx="1423">
                  <c:v>0</c:v>
                </c:pt>
                <c:pt idx="1424">
                  <c:v>0.89173800000000003</c:v>
                </c:pt>
                <c:pt idx="1425">
                  <c:v>1.051118</c:v>
                </c:pt>
                <c:pt idx="1426">
                  <c:v>1.1273070000000001</c:v>
                </c:pt>
                <c:pt idx="1427">
                  <c:v>1.3155699999999999</c:v>
                </c:pt>
                <c:pt idx="1428">
                  <c:v>1.21366</c:v>
                </c:pt>
                <c:pt idx="1429">
                  <c:v>0.96390299999999995</c:v>
                </c:pt>
                <c:pt idx="1430">
                  <c:v>1.155365</c:v>
                </c:pt>
                <c:pt idx="1431">
                  <c:v>1.1840470000000001</c:v>
                </c:pt>
                <c:pt idx="1432">
                  <c:v>1.3504769999999999</c:v>
                </c:pt>
                <c:pt idx="1433">
                  <c:v>1.023698</c:v>
                </c:pt>
                <c:pt idx="1434">
                  <c:v>1.206801</c:v>
                </c:pt>
                <c:pt idx="1435">
                  <c:v>0.96963900000000003</c:v>
                </c:pt>
                <c:pt idx="1436">
                  <c:v>1.1404300000000001</c:v>
                </c:pt>
                <c:pt idx="1437">
                  <c:v>0.99800500000000003</c:v>
                </c:pt>
                <c:pt idx="1438">
                  <c:v>0.85946</c:v>
                </c:pt>
                <c:pt idx="1439">
                  <c:v>1.148099</c:v>
                </c:pt>
                <c:pt idx="1440">
                  <c:v>0.998305</c:v>
                </c:pt>
                <c:pt idx="1441">
                  <c:v>0.93254199999999998</c:v>
                </c:pt>
                <c:pt idx="1442">
                  <c:v>1.1851050000000001</c:v>
                </c:pt>
                <c:pt idx="1443">
                  <c:v>0.64812800000000004</c:v>
                </c:pt>
                <c:pt idx="1444">
                  <c:v>0.99073599999999995</c:v>
                </c:pt>
                <c:pt idx="1445">
                  <c:v>0.84457099999999996</c:v>
                </c:pt>
                <c:pt idx="1446">
                  <c:v>1.2715669999999999</c:v>
                </c:pt>
                <c:pt idx="1447">
                  <c:v>1.4280459999999999</c:v>
                </c:pt>
                <c:pt idx="1448">
                  <c:v>0</c:v>
                </c:pt>
                <c:pt idx="1449">
                  <c:v>0.88771</c:v>
                </c:pt>
                <c:pt idx="1450">
                  <c:v>0.74639999999999995</c:v>
                </c:pt>
                <c:pt idx="1451">
                  <c:v>1.1618230000000001</c:v>
                </c:pt>
                <c:pt idx="1452">
                  <c:v>0.945357</c:v>
                </c:pt>
                <c:pt idx="1453">
                  <c:v>1.0311650000000001</c:v>
                </c:pt>
                <c:pt idx="1454">
                  <c:v>0.75481399999999998</c:v>
                </c:pt>
                <c:pt idx="1455">
                  <c:v>0.83649200000000001</c:v>
                </c:pt>
                <c:pt idx="1456">
                  <c:v>0.93823800000000002</c:v>
                </c:pt>
                <c:pt idx="1457">
                  <c:v>0.75450399999999995</c:v>
                </c:pt>
                <c:pt idx="1458">
                  <c:v>0.69865100000000002</c:v>
                </c:pt>
                <c:pt idx="1459">
                  <c:v>1.267649</c:v>
                </c:pt>
                <c:pt idx="1460">
                  <c:v>1.2132339999999999</c:v>
                </c:pt>
                <c:pt idx="1461">
                  <c:v>1.191945</c:v>
                </c:pt>
                <c:pt idx="1462">
                  <c:v>1.0890470000000001</c:v>
                </c:pt>
                <c:pt idx="1463">
                  <c:v>0.95489199999999996</c:v>
                </c:pt>
                <c:pt idx="1464">
                  <c:v>1.1763250000000001</c:v>
                </c:pt>
                <c:pt idx="1465">
                  <c:v>1.0423119999999999</c:v>
                </c:pt>
                <c:pt idx="1466">
                  <c:v>1.0927150000000001</c:v>
                </c:pt>
                <c:pt idx="1467">
                  <c:v>0.93627400000000005</c:v>
                </c:pt>
                <c:pt idx="1468">
                  <c:v>0.89781200000000005</c:v>
                </c:pt>
                <c:pt idx="1469">
                  <c:v>0.90345299999999995</c:v>
                </c:pt>
                <c:pt idx="1470">
                  <c:v>0.97559899999999999</c:v>
                </c:pt>
                <c:pt idx="1471">
                  <c:v>1.43892</c:v>
                </c:pt>
                <c:pt idx="1472">
                  <c:v>0</c:v>
                </c:pt>
                <c:pt idx="1473">
                  <c:v>1.0723910000000001</c:v>
                </c:pt>
                <c:pt idx="1474">
                  <c:v>1.3534250000000001</c:v>
                </c:pt>
                <c:pt idx="1475">
                  <c:v>1.119227</c:v>
                </c:pt>
                <c:pt idx="1476">
                  <c:v>1.322711</c:v>
                </c:pt>
                <c:pt idx="1477">
                  <c:v>0.89093100000000003</c:v>
                </c:pt>
                <c:pt idx="1478">
                  <c:v>0.93160699999999996</c:v>
                </c:pt>
                <c:pt idx="1479">
                  <c:v>1.1778109999999999</c:v>
                </c:pt>
                <c:pt idx="1480">
                  <c:v>0</c:v>
                </c:pt>
                <c:pt idx="1481">
                  <c:v>1.2525269999999999</c:v>
                </c:pt>
                <c:pt idx="1482">
                  <c:v>1.4824250000000001</c:v>
                </c:pt>
                <c:pt idx="1483">
                  <c:v>1.075523</c:v>
                </c:pt>
                <c:pt idx="1484">
                  <c:v>1.1682030000000001</c:v>
                </c:pt>
                <c:pt idx="1485">
                  <c:v>1.250394</c:v>
                </c:pt>
                <c:pt idx="1486">
                  <c:v>1.354115</c:v>
                </c:pt>
                <c:pt idx="1487">
                  <c:v>1.019436</c:v>
                </c:pt>
                <c:pt idx="1488">
                  <c:v>0.86907000000000001</c:v>
                </c:pt>
                <c:pt idx="1489">
                  <c:v>0.79617599999999999</c:v>
                </c:pt>
                <c:pt idx="1490">
                  <c:v>1.177297</c:v>
                </c:pt>
                <c:pt idx="1491">
                  <c:v>1.162307</c:v>
                </c:pt>
                <c:pt idx="1492">
                  <c:v>0.87322299999999997</c:v>
                </c:pt>
                <c:pt idx="1493">
                  <c:v>0.87559799999999999</c:v>
                </c:pt>
                <c:pt idx="1494">
                  <c:v>0.647285</c:v>
                </c:pt>
                <c:pt idx="1495">
                  <c:v>0.84540899999999997</c:v>
                </c:pt>
                <c:pt idx="1496">
                  <c:v>1.048308</c:v>
                </c:pt>
                <c:pt idx="1497">
                  <c:v>1.0309759999999999</c:v>
                </c:pt>
                <c:pt idx="1498">
                  <c:v>0.929342</c:v>
                </c:pt>
                <c:pt idx="1499">
                  <c:v>1.1814929999999999</c:v>
                </c:pt>
                <c:pt idx="1500">
                  <c:v>1.255763</c:v>
                </c:pt>
                <c:pt idx="1501">
                  <c:v>1.397842</c:v>
                </c:pt>
                <c:pt idx="1502">
                  <c:v>1.228667</c:v>
                </c:pt>
                <c:pt idx="1503">
                  <c:v>0</c:v>
                </c:pt>
                <c:pt idx="1504">
                  <c:v>1.086856</c:v>
                </c:pt>
                <c:pt idx="1505">
                  <c:v>1.6246860000000001</c:v>
                </c:pt>
                <c:pt idx="1506">
                  <c:v>2.313151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1.072346</c:v>
                </c:pt>
                <c:pt idx="1512">
                  <c:v>1.032851</c:v>
                </c:pt>
                <c:pt idx="1513">
                  <c:v>1.017995</c:v>
                </c:pt>
                <c:pt idx="1514">
                  <c:v>0.90968700000000002</c:v>
                </c:pt>
                <c:pt idx="1515">
                  <c:v>0.64357299999999995</c:v>
                </c:pt>
                <c:pt idx="1516">
                  <c:v>0.78096699999999997</c:v>
                </c:pt>
                <c:pt idx="1517">
                  <c:v>0.99484499999999998</c:v>
                </c:pt>
                <c:pt idx="1518">
                  <c:v>0.86355700000000002</c:v>
                </c:pt>
                <c:pt idx="1519">
                  <c:v>0</c:v>
                </c:pt>
                <c:pt idx="1520">
                  <c:v>0.824187</c:v>
                </c:pt>
                <c:pt idx="1521">
                  <c:v>0.80981400000000003</c:v>
                </c:pt>
                <c:pt idx="1522">
                  <c:v>1.07463</c:v>
                </c:pt>
                <c:pt idx="1523">
                  <c:v>0.91913299999999998</c:v>
                </c:pt>
                <c:pt idx="1524">
                  <c:v>0.80376800000000004</c:v>
                </c:pt>
                <c:pt idx="1525">
                  <c:v>0.66939199999999999</c:v>
                </c:pt>
                <c:pt idx="1526">
                  <c:v>0.88336400000000004</c:v>
                </c:pt>
                <c:pt idx="1527">
                  <c:v>1.3065690000000001</c:v>
                </c:pt>
                <c:pt idx="1528">
                  <c:v>0.78151099999999996</c:v>
                </c:pt>
                <c:pt idx="1529">
                  <c:v>0.59181399999999995</c:v>
                </c:pt>
                <c:pt idx="1530">
                  <c:v>0.61543199999999998</c:v>
                </c:pt>
                <c:pt idx="1531">
                  <c:v>0.60039100000000001</c:v>
                </c:pt>
                <c:pt idx="1532">
                  <c:v>0.72824500000000003</c:v>
                </c:pt>
                <c:pt idx="1533">
                  <c:v>0.59622699999999995</c:v>
                </c:pt>
                <c:pt idx="1534">
                  <c:v>0.69752700000000001</c:v>
                </c:pt>
                <c:pt idx="1535">
                  <c:v>0.808473</c:v>
                </c:pt>
                <c:pt idx="1536">
                  <c:v>0.76238499999999998</c:v>
                </c:pt>
                <c:pt idx="1537">
                  <c:v>1.716755</c:v>
                </c:pt>
                <c:pt idx="1538">
                  <c:v>0.87711600000000001</c:v>
                </c:pt>
                <c:pt idx="1539">
                  <c:v>0</c:v>
                </c:pt>
                <c:pt idx="1540">
                  <c:v>0.59553900000000004</c:v>
                </c:pt>
                <c:pt idx="1541">
                  <c:v>0.77465899999999999</c:v>
                </c:pt>
                <c:pt idx="1542">
                  <c:v>0.725248</c:v>
                </c:pt>
                <c:pt idx="1543">
                  <c:v>0.70817699999999995</c:v>
                </c:pt>
                <c:pt idx="1544">
                  <c:v>0.69852800000000004</c:v>
                </c:pt>
                <c:pt idx="1545">
                  <c:v>0.71935700000000002</c:v>
                </c:pt>
                <c:pt idx="1546">
                  <c:v>0.855572</c:v>
                </c:pt>
                <c:pt idx="1547">
                  <c:v>0.83566600000000002</c:v>
                </c:pt>
                <c:pt idx="1548">
                  <c:v>0.60345300000000002</c:v>
                </c:pt>
                <c:pt idx="1549">
                  <c:v>0.75507400000000002</c:v>
                </c:pt>
                <c:pt idx="1550">
                  <c:v>0.66047699999999998</c:v>
                </c:pt>
                <c:pt idx="1551">
                  <c:v>0.59080100000000002</c:v>
                </c:pt>
                <c:pt idx="1552">
                  <c:v>0.750386</c:v>
                </c:pt>
                <c:pt idx="1553">
                  <c:v>0.73511000000000004</c:v>
                </c:pt>
                <c:pt idx="1554">
                  <c:v>0.74424299999999999</c:v>
                </c:pt>
                <c:pt idx="1555">
                  <c:v>0.66395599999999999</c:v>
                </c:pt>
                <c:pt idx="1556">
                  <c:v>0.72239799999999998</c:v>
                </c:pt>
                <c:pt idx="1557">
                  <c:v>0.90027299999999999</c:v>
                </c:pt>
                <c:pt idx="1558">
                  <c:v>1.0583629999999999</c:v>
                </c:pt>
                <c:pt idx="1559">
                  <c:v>0.98000299999999996</c:v>
                </c:pt>
                <c:pt idx="1560">
                  <c:v>0.885822</c:v>
                </c:pt>
                <c:pt idx="1561">
                  <c:v>0.94207300000000005</c:v>
                </c:pt>
                <c:pt idx="1562">
                  <c:v>1.193573</c:v>
                </c:pt>
                <c:pt idx="1563">
                  <c:v>0.88829100000000005</c:v>
                </c:pt>
                <c:pt idx="1564">
                  <c:v>0.98043800000000003</c:v>
                </c:pt>
                <c:pt idx="1565">
                  <c:v>1.243223</c:v>
                </c:pt>
                <c:pt idx="1566">
                  <c:v>1.0715520000000001</c:v>
                </c:pt>
                <c:pt idx="1567">
                  <c:v>1.3278810000000001</c:v>
                </c:pt>
                <c:pt idx="1568">
                  <c:v>0.95745599999999997</c:v>
                </c:pt>
                <c:pt idx="1569">
                  <c:v>0.77392899999999998</c:v>
                </c:pt>
                <c:pt idx="1570">
                  <c:v>0.67833600000000005</c:v>
                </c:pt>
                <c:pt idx="1571">
                  <c:v>1.2379180000000001</c:v>
                </c:pt>
                <c:pt idx="1572">
                  <c:v>0.764513</c:v>
                </c:pt>
                <c:pt idx="1573">
                  <c:v>0.64656400000000003</c:v>
                </c:pt>
                <c:pt idx="1574">
                  <c:v>0.77969699999999997</c:v>
                </c:pt>
                <c:pt idx="1575">
                  <c:v>0.801207</c:v>
                </c:pt>
                <c:pt idx="1576">
                  <c:v>0.82294299999999998</c:v>
                </c:pt>
                <c:pt idx="1577">
                  <c:v>0.75600199999999995</c:v>
                </c:pt>
                <c:pt idx="1578">
                  <c:v>0.56520700000000001</c:v>
                </c:pt>
                <c:pt idx="1579">
                  <c:v>0.83713000000000004</c:v>
                </c:pt>
                <c:pt idx="1580">
                  <c:v>0.60279000000000005</c:v>
                </c:pt>
                <c:pt idx="1581">
                  <c:v>0.85273100000000002</c:v>
                </c:pt>
                <c:pt idx="1582">
                  <c:v>0.473192</c:v>
                </c:pt>
                <c:pt idx="1583">
                  <c:v>0.49436999999999998</c:v>
                </c:pt>
                <c:pt idx="1584">
                  <c:v>0.82999400000000001</c:v>
                </c:pt>
                <c:pt idx="1585">
                  <c:v>1.4508289999999999</c:v>
                </c:pt>
                <c:pt idx="1586">
                  <c:v>1.1211279999999999</c:v>
                </c:pt>
                <c:pt idx="1587">
                  <c:v>0.78267600000000004</c:v>
                </c:pt>
                <c:pt idx="1588">
                  <c:v>0.78934800000000005</c:v>
                </c:pt>
                <c:pt idx="1589">
                  <c:v>0.93318500000000004</c:v>
                </c:pt>
                <c:pt idx="1590">
                  <c:v>0</c:v>
                </c:pt>
                <c:pt idx="1591">
                  <c:v>0</c:v>
                </c:pt>
                <c:pt idx="1592">
                  <c:v>0.75102800000000003</c:v>
                </c:pt>
                <c:pt idx="1593">
                  <c:v>0.62559200000000004</c:v>
                </c:pt>
                <c:pt idx="1594">
                  <c:v>0.599796</c:v>
                </c:pt>
                <c:pt idx="1595">
                  <c:v>0</c:v>
                </c:pt>
                <c:pt idx="1596">
                  <c:v>0.85616300000000001</c:v>
                </c:pt>
                <c:pt idx="1597">
                  <c:v>0.82677599999999996</c:v>
                </c:pt>
                <c:pt idx="1598">
                  <c:v>0.72798499999999999</c:v>
                </c:pt>
                <c:pt idx="1599">
                  <c:v>0.65540299999999996</c:v>
                </c:pt>
                <c:pt idx="1600">
                  <c:v>0.64175899999999997</c:v>
                </c:pt>
                <c:pt idx="1601">
                  <c:v>0.64676800000000001</c:v>
                </c:pt>
                <c:pt idx="1602">
                  <c:v>0.64435600000000004</c:v>
                </c:pt>
                <c:pt idx="1603">
                  <c:v>0.60549799999999998</c:v>
                </c:pt>
                <c:pt idx="1604">
                  <c:v>0.98805100000000001</c:v>
                </c:pt>
                <c:pt idx="1605">
                  <c:v>0.70680100000000001</c:v>
                </c:pt>
                <c:pt idx="1606">
                  <c:v>0</c:v>
                </c:pt>
                <c:pt idx="1607">
                  <c:v>0.84975800000000001</c:v>
                </c:pt>
                <c:pt idx="1608">
                  <c:v>0.91272900000000001</c:v>
                </c:pt>
                <c:pt idx="1609">
                  <c:v>0.70960699999999999</c:v>
                </c:pt>
                <c:pt idx="1610">
                  <c:v>0.88544</c:v>
                </c:pt>
                <c:pt idx="1611">
                  <c:v>0.59790500000000002</c:v>
                </c:pt>
                <c:pt idx="1612">
                  <c:v>0.67437899999999995</c:v>
                </c:pt>
                <c:pt idx="1613">
                  <c:v>0.72331900000000005</c:v>
                </c:pt>
                <c:pt idx="1614">
                  <c:v>0.74299700000000002</c:v>
                </c:pt>
                <c:pt idx="1615">
                  <c:v>0.587449</c:v>
                </c:pt>
                <c:pt idx="1616">
                  <c:v>0.48668400000000001</c:v>
                </c:pt>
                <c:pt idx="1617">
                  <c:v>0.61382300000000001</c:v>
                </c:pt>
                <c:pt idx="1618">
                  <c:v>0.65287899999999999</c:v>
                </c:pt>
                <c:pt idx="1619">
                  <c:v>0.63041599999999998</c:v>
                </c:pt>
                <c:pt idx="1620">
                  <c:v>0.61957099999999998</c:v>
                </c:pt>
                <c:pt idx="1621">
                  <c:v>0.65977600000000003</c:v>
                </c:pt>
                <c:pt idx="1622">
                  <c:v>0.70502500000000001</c:v>
                </c:pt>
                <c:pt idx="1623">
                  <c:v>0.98256600000000005</c:v>
                </c:pt>
                <c:pt idx="1624">
                  <c:v>0.94265200000000005</c:v>
                </c:pt>
                <c:pt idx="1625">
                  <c:v>0.76137200000000005</c:v>
                </c:pt>
                <c:pt idx="1626">
                  <c:v>0.99640200000000001</c:v>
                </c:pt>
                <c:pt idx="1627">
                  <c:v>0.95392900000000003</c:v>
                </c:pt>
                <c:pt idx="1628">
                  <c:v>0.75664200000000004</c:v>
                </c:pt>
                <c:pt idx="1629">
                  <c:v>0.84709800000000002</c:v>
                </c:pt>
                <c:pt idx="1630">
                  <c:v>0.74788299999999996</c:v>
                </c:pt>
                <c:pt idx="1631">
                  <c:v>0.77184900000000001</c:v>
                </c:pt>
                <c:pt idx="1632">
                  <c:v>0.93833800000000001</c:v>
                </c:pt>
                <c:pt idx="1633">
                  <c:v>0</c:v>
                </c:pt>
                <c:pt idx="1634">
                  <c:v>0.84973100000000001</c:v>
                </c:pt>
                <c:pt idx="1635">
                  <c:v>0.57500799999999996</c:v>
                </c:pt>
                <c:pt idx="1636">
                  <c:v>0.62146800000000002</c:v>
                </c:pt>
                <c:pt idx="1637">
                  <c:v>0.76238300000000003</c:v>
                </c:pt>
                <c:pt idx="1638">
                  <c:v>0.66076400000000002</c:v>
                </c:pt>
                <c:pt idx="1639">
                  <c:v>0.78691199999999994</c:v>
                </c:pt>
                <c:pt idx="1640">
                  <c:v>0.82787599999999995</c:v>
                </c:pt>
                <c:pt idx="1641">
                  <c:v>0.65899600000000003</c:v>
                </c:pt>
                <c:pt idx="1642">
                  <c:v>0.61703600000000003</c:v>
                </c:pt>
                <c:pt idx="1643">
                  <c:v>0.621583</c:v>
                </c:pt>
                <c:pt idx="1644">
                  <c:v>0.64044199999999996</c:v>
                </c:pt>
                <c:pt idx="1645">
                  <c:v>0.68130199999999996</c:v>
                </c:pt>
                <c:pt idx="1646">
                  <c:v>0.73182499999999995</c:v>
                </c:pt>
                <c:pt idx="1647">
                  <c:v>0.73429999999999995</c:v>
                </c:pt>
                <c:pt idx="1648">
                  <c:v>0.99568800000000002</c:v>
                </c:pt>
                <c:pt idx="1649">
                  <c:v>0.69605099999999998</c:v>
                </c:pt>
                <c:pt idx="1650">
                  <c:v>0.65730999999999995</c:v>
                </c:pt>
                <c:pt idx="1651">
                  <c:v>0.72037399999999996</c:v>
                </c:pt>
                <c:pt idx="1652">
                  <c:v>0.73569700000000005</c:v>
                </c:pt>
                <c:pt idx="1653">
                  <c:v>0.78004300000000004</c:v>
                </c:pt>
                <c:pt idx="1654">
                  <c:v>1.6564460000000001</c:v>
                </c:pt>
                <c:pt idx="1655">
                  <c:v>1.0464450000000001</c:v>
                </c:pt>
                <c:pt idx="1656">
                  <c:v>0.75390100000000004</c:v>
                </c:pt>
                <c:pt idx="1657">
                  <c:v>0.92211399999999999</c:v>
                </c:pt>
                <c:pt idx="1658">
                  <c:v>0.72073100000000001</c:v>
                </c:pt>
                <c:pt idx="1659">
                  <c:v>0.61519999999999997</c:v>
                </c:pt>
                <c:pt idx="1660">
                  <c:v>0.61120099999999999</c:v>
                </c:pt>
                <c:pt idx="1661">
                  <c:v>0.95160299999999998</c:v>
                </c:pt>
                <c:pt idx="1662">
                  <c:v>0.92261899999999997</c:v>
                </c:pt>
                <c:pt idx="1663">
                  <c:v>1.3089649999999999</c:v>
                </c:pt>
                <c:pt idx="1664">
                  <c:v>0.71959899999999999</c:v>
                </c:pt>
                <c:pt idx="1665">
                  <c:v>1.2045030000000001</c:v>
                </c:pt>
                <c:pt idx="1666">
                  <c:v>0.79408699999999999</c:v>
                </c:pt>
                <c:pt idx="1667">
                  <c:v>0.73675400000000002</c:v>
                </c:pt>
                <c:pt idx="1668">
                  <c:v>0.69123999999999997</c:v>
                </c:pt>
                <c:pt idx="1669">
                  <c:v>0.85388399999999998</c:v>
                </c:pt>
                <c:pt idx="1670">
                  <c:v>0.84615200000000002</c:v>
                </c:pt>
                <c:pt idx="1671">
                  <c:v>0.77653000000000005</c:v>
                </c:pt>
                <c:pt idx="1672">
                  <c:v>0.93417399999999995</c:v>
                </c:pt>
                <c:pt idx="1673">
                  <c:v>0.76422699999999999</c:v>
                </c:pt>
                <c:pt idx="1674">
                  <c:v>0.63500400000000001</c:v>
                </c:pt>
                <c:pt idx="1675">
                  <c:v>0</c:v>
                </c:pt>
                <c:pt idx="1676">
                  <c:v>0.68066800000000005</c:v>
                </c:pt>
                <c:pt idx="1677">
                  <c:v>0.70616500000000004</c:v>
                </c:pt>
                <c:pt idx="1678">
                  <c:v>0.65743600000000002</c:v>
                </c:pt>
                <c:pt idx="1679">
                  <c:v>0.74519199999999997</c:v>
                </c:pt>
                <c:pt idx="1680">
                  <c:v>0.65983800000000004</c:v>
                </c:pt>
                <c:pt idx="1681">
                  <c:v>0.55846700000000005</c:v>
                </c:pt>
                <c:pt idx="1682">
                  <c:v>0.50888999999999995</c:v>
                </c:pt>
                <c:pt idx="1683">
                  <c:v>0.83441799999999999</c:v>
                </c:pt>
                <c:pt idx="1684">
                  <c:v>0.72504599999999997</c:v>
                </c:pt>
                <c:pt idx="1685">
                  <c:v>1.367191</c:v>
                </c:pt>
                <c:pt idx="1686">
                  <c:v>0.72527799999999998</c:v>
                </c:pt>
                <c:pt idx="1687">
                  <c:v>0.56360399999999999</c:v>
                </c:pt>
                <c:pt idx="1688">
                  <c:v>0.60227900000000001</c:v>
                </c:pt>
                <c:pt idx="1689">
                  <c:v>0.60290200000000005</c:v>
                </c:pt>
                <c:pt idx="1690">
                  <c:v>0.51963099999999995</c:v>
                </c:pt>
                <c:pt idx="1691">
                  <c:v>0.49287799999999998</c:v>
                </c:pt>
                <c:pt idx="1692">
                  <c:v>0.94425300000000001</c:v>
                </c:pt>
                <c:pt idx="1693">
                  <c:v>0.60343899999999995</c:v>
                </c:pt>
                <c:pt idx="1694">
                  <c:v>0.72798600000000002</c:v>
                </c:pt>
                <c:pt idx="1695">
                  <c:v>0.82678200000000002</c:v>
                </c:pt>
                <c:pt idx="1696">
                  <c:v>0.69911800000000002</c:v>
                </c:pt>
                <c:pt idx="1697">
                  <c:v>0.647424</c:v>
                </c:pt>
                <c:pt idx="1698">
                  <c:v>0.65282799999999996</c:v>
                </c:pt>
                <c:pt idx="1699">
                  <c:v>0.81423699999999999</c:v>
                </c:pt>
                <c:pt idx="1700">
                  <c:v>0.51583699999999999</c:v>
                </c:pt>
                <c:pt idx="1701">
                  <c:v>0.65238700000000005</c:v>
                </c:pt>
                <c:pt idx="1702">
                  <c:v>0.62243199999999999</c:v>
                </c:pt>
                <c:pt idx="1703">
                  <c:v>0.55319600000000002</c:v>
                </c:pt>
                <c:pt idx="1704">
                  <c:v>0.85106800000000005</c:v>
                </c:pt>
                <c:pt idx="1705">
                  <c:v>0</c:v>
                </c:pt>
                <c:pt idx="1706">
                  <c:v>0.63853700000000002</c:v>
                </c:pt>
                <c:pt idx="1707">
                  <c:v>0.59557099999999996</c:v>
                </c:pt>
                <c:pt idx="1708">
                  <c:v>0.82849300000000003</c:v>
                </c:pt>
                <c:pt idx="1709">
                  <c:v>0.55476599999999998</c:v>
                </c:pt>
                <c:pt idx="1710">
                  <c:v>0.67084299999999997</c:v>
                </c:pt>
                <c:pt idx="1711">
                  <c:v>0.60682599999999998</c:v>
                </c:pt>
                <c:pt idx="1712">
                  <c:v>0.77058300000000002</c:v>
                </c:pt>
                <c:pt idx="1713">
                  <c:v>0.82818999999999998</c:v>
                </c:pt>
                <c:pt idx="1714">
                  <c:v>0.90953799999999996</c:v>
                </c:pt>
                <c:pt idx="1715">
                  <c:v>0.88820299999999996</c:v>
                </c:pt>
                <c:pt idx="1716">
                  <c:v>0.65559500000000004</c:v>
                </c:pt>
                <c:pt idx="1717">
                  <c:v>0.69494699999999998</c:v>
                </c:pt>
                <c:pt idx="1718">
                  <c:v>0.66259299999999999</c:v>
                </c:pt>
                <c:pt idx="1719">
                  <c:v>0.86264700000000005</c:v>
                </c:pt>
                <c:pt idx="1720">
                  <c:v>0.71219200000000005</c:v>
                </c:pt>
                <c:pt idx="1721">
                  <c:v>0.77884200000000003</c:v>
                </c:pt>
                <c:pt idx="1722">
                  <c:v>0.62776299999999996</c:v>
                </c:pt>
                <c:pt idx="1723">
                  <c:v>0.80023200000000005</c:v>
                </c:pt>
                <c:pt idx="1724">
                  <c:v>0</c:v>
                </c:pt>
                <c:pt idx="1725">
                  <c:v>0.76798599999999995</c:v>
                </c:pt>
                <c:pt idx="1726">
                  <c:v>0.81090600000000002</c:v>
                </c:pt>
                <c:pt idx="1727">
                  <c:v>0.61218499999999998</c:v>
                </c:pt>
                <c:pt idx="1728">
                  <c:v>0.59967899999999996</c:v>
                </c:pt>
                <c:pt idx="1729">
                  <c:v>0.54017300000000001</c:v>
                </c:pt>
                <c:pt idx="1730">
                  <c:v>0.54517599999999999</c:v>
                </c:pt>
                <c:pt idx="1731">
                  <c:v>0.76901900000000001</c:v>
                </c:pt>
                <c:pt idx="1732">
                  <c:v>0.61907699999999999</c:v>
                </c:pt>
                <c:pt idx="1733">
                  <c:v>0.63012199999999996</c:v>
                </c:pt>
                <c:pt idx="1734">
                  <c:v>0.75313200000000002</c:v>
                </c:pt>
                <c:pt idx="1735">
                  <c:v>0.62206600000000001</c:v>
                </c:pt>
                <c:pt idx="1736">
                  <c:v>0.73085900000000004</c:v>
                </c:pt>
                <c:pt idx="1737">
                  <c:v>0</c:v>
                </c:pt>
                <c:pt idx="1738">
                  <c:v>0.66539400000000004</c:v>
                </c:pt>
                <c:pt idx="1739">
                  <c:v>0.65179100000000001</c:v>
                </c:pt>
                <c:pt idx="1740">
                  <c:v>0.55961000000000005</c:v>
                </c:pt>
                <c:pt idx="1741">
                  <c:v>0.67648399999999997</c:v>
                </c:pt>
                <c:pt idx="1742">
                  <c:v>0.61917299999999997</c:v>
                </c:pt>
                <c:pt idx="1743">
                  <c:v>0.52800599999999998</c:v>
                </c:pt>
                <c:pt idx="1744">
                  <c:v>0.52848799999999996</c:v>
                </c:pt>
                <c:pt idx="1745">
                  <c:v>0.46961599999999998</c:v>
                </c:pt>
                <c:pt idx="1746">
                  <c:v>0.45049299999999998</c:v>
                </c:pt>
                <c:pt idx="1747">
                  <c:v>0.69115199999999999</c:v>
                </c:pt>
                <c:pt idx="1748">
                  <c:v>0.95137000000000005</c:v>
                </c:pt>
                <c:pt idx="1749">
                  <c:v>0.59574700000000003</c:v>
                </c:pt>
                <c:pt idx="1750">
                  <c:v>0.64332900000000004</c:v>
                </c:pt>
                <c:pt idx="1751">
                  <c:v>0.785999</c:v>
                </c:pt>
                <c:pt idx="1752">
                  <c:v>0.61336599999999997</c:v>
                </c:pt>
                <c:pt idx="1753">
                  <c:v>1.0197480000000001</c:v>
                </c:pt>
                <c:pt idx="1754">
                  <c:v>0.88631400000000005</c:v>
                </c:pt>
                <c:pt idx="1755">
                  <c:v>1.1582680000000001</c:v>
                </c:pt>
                <c:pt idx="1756">
                  <c:v>0</c:v>
                </c:pt>
                <c:pt idx="1757">
                  <c:v>0.817241</c:v>
                </c:pt>
                <c:pt idx="1758">
                  <c:v>1.3052170000000001</c:v>
                </c:pt>
                <c:pt idx="1759">
                  <c:v>1.3403830000000001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.84263100000000002</c:v>
                </c:pt>
                <c:pt idx="1764">
                  <c:v>0.73856699999999997</c:v>
                </c:pt>
                <c:pt idx="1765">
                  <c:v>0.76916200000000001</c:v>
                </c:pt>
                <c:pt idx="1766">
                  <c:v>0.77037</c:v>
                </c:pt>
                <c:pt idx="1767">
                  <c:v>0.84731900000000004</c:v>
                </c:pt>
                <c:pt idx="1768">
                  <c:v>0.91777200000000003</c:v>
                </c:pt>
                <c:pt idx="1769">
                  <c:v>0.763984</c:v>
                </c:pt>
                <c:pt idx="1770">
                  <c:v>0</c:v>
                </c:pt>
                <c:pt idx="1771">
                  <c:v>0.908578</c:v>
                </c:pt>
                <c:pt idx="1772">
                  <c:v>0.53422800000000004</c:v>
                </c:pt>
                <c:pt idx="1773">
                  <c:v>0.51238099999999998</c:v>
                </c:pt>
                <c:pt idx="1774">
                  <c:v>0.57372299999999998</c:v>
                </c:pt>
                <c:pt idx="1775">
                  <c:v>1.076182</c:v>
                </c:pt>
                <c:pt idx="1776">
                  <c:v>0.63111200000000001</c:v>
                </c:pt>
                <c:pt idx="1777">
                  <c:v>0.66748799999999997</c:v>
                </c:pt>
                <c:pt idx="1778">
                  <c:v>1.0797099999999999</c:v>
                </c:pt>
                <c:pt idx="1779">
                  <c:v>1.155751</c:v>
                </c:pt>
                <c:pt idx="1780">
                  <c:v>0.85802299999999998</c:v>
                </c:pt>
                <c:pt idx="1781">
                  <c:v>0.77555300000000005</c:v>
                </c:pt>
                <c:pt idx="1782">
                  <c:v>0.90195899999999996</c:v>
                </c:pt>
                <c:pt idx="1783">
                  <c:v>0.80122199999999999</c:v>
                </c:pt>
                <c:pt idx="1784">
                  <c:v>0.92000599999999999</c:v>
                </c:pt>
                <c:pt idx="1785">
                  <c:v>0.62372099999999997</c:v>
                </c:pt>
                <c:pt idx="1786">
                  <c:v>0.59910799999999997</c:v>
                </c:pt>
                <c:pt idx="1787">
                  <c:v>0.76468800000000003</c:v>
                </c:pt>
                <c:pt idx="1788">
                  <c:v>0.83755000000000002</c:v>
                </c:pt>
                <c:pt idx="1789">
                  <c:v>0.56285799999999997</c:v>
                </c:pt>
                <c:pt idx="1790">
                  <c:v>0</c:v>
                </c:pt>
                <c:pt idx="1791">
                  <c:v>0.61934699999999998</c:v>
                </c:pt>
                <c:pt idx="1792">
                  <c:v>0.47038999999999997</c:v>
                </c:pt>
                <c:pt idx="1793">
                  <c:v>0.69855699999999998</c:v>
                </c:pt>
                <c:pt idx="1794">
                  <c:v>0.91061800000000004</c:v>
                </c:pt>
                <c:pt idx="1795">
                  <c:v>0.95156600000000002</c:v>
                </c:pt>
                <c:pt idx="1796">
                  <c:v>1.0654760000000001</c:v>
                </c:pt>
                <c:pt idx="1797">
                  <c:v>0.95174400000000003</c:v>
                </c:pt>
                <c:pt idx="1798">
                  <c:v>1.797695</c:v>
                </c:pt>
                <c:pt idx="1799">
                  <c:v>1.2983549999999999</c:v>
                </c:pt>
                <c:pt idx="1800">
                  <c:v>1.058513</c:v>
                </c:pt>
                <c:pt idx="1801">
                  <c:v>0.9879</c:v>
                </c:pt>
                <c:pt idx="1802">
                  <c:v>0.86215900000000001</c:v>
                </c:pt>
                <c:pt idx="1803">
                  <c:v>1.0573680000000001</c:v>
                </c:pt>
                <c:pt idx="1804">
                  <c:v>1.491058</c:v>
                </c:pt>
                <c:pt idx="1805">
                  <c:v>0.97685699999999998</c:v>
                </c:pt>
                <c:pt idx="1806">
                  <c:v>1.44892</c:v>
                </c:pt>
                <c:pt idx="1807">
                  <c:v>0.85594899999999996</c:v>
                </c:pt>
                <c:pt idx="1808">
                  <c:v>1.195254</c:v>
                </c:pt>
                <c:pt idx="1809">
                  <c:v>0.94787500000000002</c:v>
                </c:pt>
                <c:pt idx="1810">
                  <c:v>1.2596080000000001</c:v>
                </c:pt>
                <c:pt idx="1811">
                  <c:v>1.3466750000000001</c:v>
                </c:pt>
                <c:pt idx="1812">
                  <c:v>1.1103890000000001</c:v>
                </c:pt>
                <c:pt idx="1813">
                  <c:v>0.79998800000000003</c:v>
                </c:pt>
                <c:pt idx="1814">
                  <c:v>0.86351100000000003</c:v>
                </c:pt>
                <c:pt idx="1815">
                  <c:v>1.0506960000000001</c:v>
                </c:pt>
                <c:pt idx="1816">
                  <c:v>0.90135699999999996</c:v>
                </c:pt>
                <c:pt idx="1817">
                  <c:v>1.115386</c:v>
                </c:pt>
                <c:pt idx="1818">
                  <c:v>0.71760999999999997</c:v>
                </c:pt>
                <c:pt idx="1819">
                  <c:v>0.80743799999999999</c:v>
                </c:pt>
                <c:pt idx="1820">
                  <c:v>0.55208599999999997</c:v>
                </c:pt>
                <c:pt idx="1821">
                  <c:v>0.736093</c:v>
                </c:pt>
                <c:pt idx="1822">
                  <c:v>0.80313900000000005</c:v>
                </c:pt>
                <c:pt idx="1823">
                  <c:v>0.687531</c:v>
                </c:pt>
                <c:pt idx="1824">
                  <c:v>0.68376499999999996</c:v>
                </c:pt>
                <c:pt idx="1825">
                  <c:v>0.57123400000000002</c:v>
                </c:pt>
                <c:pt idx="1826">
                  <c:v>0.92986199999999997</c:v>
                </c:pt>
                <c:pt idx="1827">
                  <c:v>0.69662199999999996</c:v>
                </c:pt>
                <c:pt idx="1828">
                  <c:v>0.72388300000000005</c:v>
                </c:pt>
                <c:pt idx="1829">
                  <c:v>0.46565600000000001</c:v>
                </c:pt>
                <c:pt idx="1830">
                  <c:v>0.78288199999999997</c:v>
                </c:pt>
                <c:pt idx="1831">
                  <c:v>0.61233599999999999</c:v>
                </c:pt>
                <c:pt idx="1832">
                  <c:v>0.75503200000000004</c:v>
                </c:pt>
                <c:pt idx="1833">
                  <c:v>0.79060799999999998</c:v>
                </c:pt>
                <c:pt idx="1834">
                  <c:v>1.2271289999999999</c:v>
                </c:pt>
                <c:pt idx="1835">
                  <c:v>0.75236499999999995</c:v>
                </c:pt>
                <c:pt idx="1836">
                  <c:v>0.84313199999999999</c:v>
                </c:pt>
                <c:pt idx="1837">
                  <c:v>0.75722100000000003</c:v>
                </c:pt>
                <c:pt idx="1838">
                  <c:v>1.0367170000000001</c:v>
                </c:pt>
                <c:pt idx="1839">
                  <c:v>0.79586299999999999</c:v>
                </c:pt>
                <c:pt idx="1840">
                  <c:v>0.69238699999999997</c:v>
                </c:pt>
                <c:pt idx="1841">
                  <c:v>0.98684899999999998</c:v>
                </c:pt>
                <c:pt idx="1842">
                  <c:v>0</c:v>
                </c:pt>
                <c:pt idx="1843">
                  <c:v>0</c:v>
                </c:pt>
                <c:pt idx="1844">
                  <c:v>1.1178330000000001</c:v>
                </c:pt>
                <c:pt idx="1845">
                  <c:v>0.62316199999999999</c:v>
                </c:pt>
                <c:pt idx="1846">
                  <c:v>0.61438499999999996</c:v>
                </c:pt>
                <c:pt idx="1847">
                  <c:v>0.62189700000000003</c:v>
                </c:pt>
                <c:pt idx="1848">
                  <c:v>0.499749</c:v>
                </c:pt>
                <c:pt idx="1849">
                  <c:v>0.72403700000000004</c:v>
                </c:pt>
                <c:pt idx="1850">
                  <c:v>0.73604700000000001</c:v>
                </c:pt>
                <c:pt idx="1851">
                  <c:v>0.67354800000000004</c:v>
                </c:pt>
                <c:pt idx="1852">
                  <c:v>0.77603699999999998</c:v>
                </c:pt>
                <c:pt idx="1853">
                  <c:v>0.73497900000000005</c:v>
                </c:pt>
                <c:pt idx="1854">
                  <c:v>0.94598199999999999</c:v>
                </c:pt>
                <c:pt idx="1855">
                  <c:v>0.87685800000000003</c:v>
                </c:pt>
                <c:pt idx="1856">
                  <c:v>0</c:v>
                </c:pt>
                <c:pt idx="1857">
                  <c:v>0.71022300000000005</c:v>
                </c:pt>
                <c:pt idx="1858">
                  <c:v>0.71548999999999996</c:v>
                </c:pt>
                <c:pt idx="1859">
                  <c:v>0.59264300000000003</c:v>
                </c:pt>
                <c:pt idx="1860">
                  <c:v>0.71353999999999995</c:v>
                </c:pt>
                <c:pt idx="1861">
                  <c:v>0.75138400000000005</c:v>
                </c:pt>
                <c:pt idx="1862">
                  <c:v>0.65746199999999999</c:v>
                </c:pt>
                <c:pt idx="1863">
                  <c:v>0.88904899999999998</c:v>
                </c:pt>
                <c:pt idx="1864">
                  <c:v>0.74459299999999995</c:v>
                </c:pt>
                <c:pt idx="1865">
                  <c:v>0.79851000000000005</c:v>
                </c:pt>
                <c:pt idx="1866">
                  <c:v>0.65419400000000005</c:v>
                </c:pt>
                <c:pt idx="1867">
                  <c:v>0.76832299999999998</c:v>
                </c:pt>
                <c:pt idx="1868">
                  <c:v>0.73475599999999996</c:v>
                </c:pt>
                <c:pt idx="1869">
                  <c:v>0.83347400000000005</c:v>
                </c:pt>
                <c:pt idx="1870">
                  <c:v>0.98516700000000001</c:v>
                </c:pt>
                <c:pt idx="1871">
                  <c:v>0.70058200000000004</c:v>
                </c:pt>
                <c:pt idx="1872">
                  <c:v>0.60193700000000006</c:v>
                </c:pt>
                <c:pt idx="1873">
                  <c:v>0.66987600000000003</c:v>
                </c:pt>
                <c:pt idx="1874">
                  <c:v>0.60234100000000002</c:v>
                </c:pt>
                <c:pt idx="1875">
                  <c:v>0.52679200000000004</c:v>
                </c:pt>
                <c:pt idx="1876">
                  <c:v>0.75597899999999996</c:v>
                </c:pt>
                <c:pt idx="1877">
                  <c:v>0.80911999999999995</c:v>
                </c:pt>
                <c:pt idx="1878">
                  <c:v>0.83410700000000004</c:v>
                </c:pt>
                <c:pt idx="1879">
                  <c:v>0.86653800000000003</c:v>
                </c:pt>
                <c:pt idx="1880">
                  <c:v>1.0874619999999999</c:v>
                </c:pt>
                <c:pt idx="1881">
                  <c:v>0.63574900000000001</c:v>
                </c:pt>
                <c:pt idx="1882">
                  <c:v>0.719638</c:v>
                </c:pt>
                <c:pt idx="1883">
                  <c:v>0.79698199999999997</c:v>
                </c:pt>
                <c:pt idx="1884">
                  <c:v>0.80429700000000004</c:v>
                </c:pt>
                <c:pt idx="1885">
                  <c:v>0.632081</c:v>
                </c:pt>
                <c:pt idx="1886">
                  <c:v>0.63062799999999997</c:v>
                </c:pt>
                <c:pt idx="1887">
                  <c:v>0.59211999999999998</c:v>
                </c:pt>
                <c:pt idx="1888">
                  <c:v>0.47744399999999998</c:v>
                </c:pt>
                <c:pt idx="1889">
                  <c:v>0.59437399999999996</c:v>
                </c:pt>
                <c:pt idx="1890">
                  <c:v>0.57417700000000005</c:v>
                </c:pt>
                <c:pt idx="1891">
                  <c:v>0.48318299999999997</c:v>
                </c:pt>
                <c:pt idx="1892">
                  <c:v>0.61719599999999997</c:v>
                </c:pt>
                <c:pt idx="1893">
                  <c:v>0.56148900000000002</c:v>
                </c:pt>
                <c:pt idx="1894">
                  <c:v>0.64087700000000003</c:v>
                </c:pt>
                <c:pt idx="1895">
                  <c:v>0.60839100000000002</c:v>
                </c:pt>
                <c:pt idx="1896">
                  <c:v>0.62808900000000001</c:v>
                </c:pt>
                <c:pt idx="1897">
                  <c:v>1.2057869999999999</c:v>
                </c:pt>
                <c:pt idx="1898">
                  <c:v>0.46068599999999998</c:v>
                </c:pt>
                <c:pt idx="1899">
                  <c:v>0.70960699999999999</c:v>
                </c:pt>
                <c:pt idx="1900">
                  <c:v>0.61401099999999997</c:v>
                </c:pt>
                <c:pt idx="1901">
                  <c:v>0.745224</c:v>
                </c:pt>
                <c:pt idx="1902">
                  <c:v>0.72362700000000002</c:v>
                </c:pt>
                <c:pt idx="1903">
                  <c:v>0.64477399999999996</c:v>
                </c:pt>
                <c:pt idx="1904">
                  <c:v>0.52625699999999997</c:v>
                </c:pt>
                <c:pt idx="1905">
                  <c:v>0.66911699999999996</c:v>
                </c:pt>
                <c:pt idx="1906">
                  <c:v>0.52326300000000003</c:v>
                </c:pt>
                <c:pt idx="1907">
                  <c:v>0.59806599999999999</c:v>
                </c:pt>
                <c:pt idx="1908">
                  <c:v>0.43767400000000001</c:v>
                </c:pt>
                <c:pt idx="1909">
                  <c:v>0.50256000000000001</c:v>
                </c:pt>
                <c:pt idx="1910">
                  <c:v>0.55109699999999995</c:v>
                </c:pt>
                <c:pt idx="1911">
                  <c:v>0.48877399999999999</c:v>
                </c:pt>
                <c:pt idx="1912">
                  <c:v>0.55390300000000003</c:v>
                </c:pt>
                <c:pt idx="1913">
                  <c:v>0.71655999999999997</c:v>
                </c:pt>
                <c:pt idx="1914">
                  <c:v>0.60705900000000002</c:v>
                </c:pt>
                <c:pt idx="1915">
                  <c:v>0.50748400000000005</c:v>
                </c:pt>
                <c:pt idx="1916">
                  <c:v>0.84307200000000004</c:v>
                </c:pt>
                <c:pt idx="1917">
                  <c:v>0.87772899999999998</c:v>
                </c:pt>
                <c:pt idx="1918">
                  <c:v>0.64802800000000005</c:v>
                </c:pt>
                <c:pt idx="1919">
                  <c:v>0.60137300000000005</c:v>
                </c:pt>
                <c:pt idx="1920">
                  <c:v>0.70317499999999999</c:v>
                </c:pt>
                <c:pt idx="1921">
                  <c:v>0.934334</c:v>
                </c:pt>
                <c:pt idx="1922">
                  <c:v>0.81013599999999997</c:v>
                </c:pt>
                <c:pt idx="1923">
                  <c:v>0.678948</c:v>
                </c:pt>
                <c:pt idx="1924">
                  <c:v>0.75452799999999998</c:v>
                </c:pt>
                <c:pt idx="1925">
                  <c:v>0.74632500000000002</c:v>
                </c:pt>
                <c:pt idx="1926">
                  <c:v>0.75035300000000005</c:v>
                </c:pt>
                <c:pt idx="1927">
                  <c:v>0.65682300000000005</c:v>
                </c:pt>
                <c:pt idx="1928">
                  <c:v>0</c:v>
                </c:pt>
                <c:pt idx="1929">
                  <c:v>0.93716200000000005</c:v>
                </c:pt>
                <c:pt idx="1930">
                  <c:v>0.732101</c:v>
                </c:pt>
                <c:pt idx="1931">
                  <c:v>0.81868600000000002</c:v>
                </c:pt>
                <c:pt idx="1932">
                  <c:v>0.76570899999999997</c:v>
                </c:pt>
                <c:pt idx="1933">
                  <c:v>0.54447699999999999</c:v>
                </c:pt>
                <c:pt idx="1934">
                  <c:v>0.81789900000000004</c:v>
                </c:pt>
                <c:pt idx="1935">
                  <c:v>0.605989</c:v>
                </c:pt>
                <c:pt idx="1936">
                  <c:v>0.67297300000000004</c:v>
                </c:pt>
                <c:pt idx="1937">
                  <c:v>0.77948600000000001</c:v>
                </c:pt>
                <c:pt idx="1938">
                  <c:v>0.82414299999999996</c:v>
                </c:pt>
                <c:pt idx="1939">
                  <c:v>0.96027499999999999</c:v>
                </c:pt>
                <c:pt idx="1940">
                  <c:v>0.78658899999999998</c:v>
                </c:pt>
                <c:pt idx="1941">
                  <c:v>0.956152</c:v>
                </c:pt>
                <c:pt idx="1942">
                  <c:v>1.3256760000000001</c:v>
                </c:pt>
                <c:pt idx="1943">
                  <c:v>0.96414900000000003</c:v>
                </c:pt>
                <c:pt idx="1944">
                  <c:v>0.987209</c:v>
                </c:pt>
                <c:pt idx="1945">
                  <c:v>0.807033</c:v>
                </c:pt>
                <c:pt idx="1946">
                  <c:v>0.61524999999999996</c:v>
                </c:pt>
                <c:pt idx="1947">
                  <c:v>0.91225500000000004</c:v>
                </c:pt>
                <c:pt idx="1948">
                  <c:v>0.73818099999999998</c:v>
                </c:pt>
                <c:pt idx="1949">
                  <c:v>0.63548000000000004</c:v>
                </c:pt>
                <c:pt idx="1950">
                  <c:v>0.55703999999999998</c:v>
                </c:pt>
                <c:pt idx="1951">
                  <c:v>0.86408300000000005</c:v>
                </c:pt>
                <c:pt idx="1952">
                  <c:v>0.82504599999999995</c:v>
                </c:pt>
                <c:pt idx="1953">
                  <c:v>0</c:v>
                </c:pt>
                <c:pt idx="1954">
                  <c:v>0.67476100000000006</c:v>
                </c:pt>
                <c:pt idx="1955">
                  <c:v>0.57396400000000003</c:v>
                </c:pt>
                <c:pt idx="1956">
                  <c:v>0.82964000000000004</c:v>
                </c:pt>
                <c:pt idx="1957">
                  <c:v>0.61677899999999997</c:v>
                </c:pt>
                <c:pt idx="1958">
                  <c:v>0.67408900000000005</c:v>
                </c:pt>
                <c:pt idx="1959">
                  <c:v>0.62933399999999995</c:v>
                </c:pt>
                <c:pt idx="1960">
                  <c:v>0.908169</c:v>
                </c:pt>
                <c:pt idx="1961">
                  <c:v>0.83628199999999997</c:v>
                </c:pt>
                <c:pt idx="1962">
                  <c:v>0.85195200000000004</c:v>
                </c:pt>
                <c:pt idx="1963">
                  <c:v>0.69462199999999996</c:v>
                </c:pt>
                <c:pt idx="1964">
                  <c:v>0.722777</c:v>
                </c:pt>
                <c:pt idx="1965">
                  <c:v>1.0643419999999999</c:v>
                </c:pt>
                <c:pt idx="1966">
                  <c:v>0.92086599999999996</c:v>
                </c:pt>
                <c:pt idx="1967">
                  <c:v>0.74355899999999997</c:v>
                </c:pt>
                <c:pt idx="1968">
                  <c:v>0.87364299999999995</c:v>
                </c:pt>
                <c:pt idx="1969">
                  <c:v>0.74165499999999995</c:v>
                </c:pt>
                <c:pt idx="1970">
                  <c:v>0.97760199999999997</c:v>
                </c:pt>
                <c:pt idx="1971">
                  <c:v>0.86503799999999997</c:v>
                </c:pt>
                <c:pt idx="1972">
                  <c:v>1.2225470000000001</c:v>
                </c:pt>
                <c:pt idx="1973">
                  <c:v>1.0288330000000001</c:v>
                </c:pt>
                <c:pt idx="1974">
                  <c:v>0</c:v>
                </c:pt>
                <c:pt idx="1975">
                  <c:v>1.110525</c:v>
                </c:pt>
                <c:pt idx="1976">
                  <c:v>0.67300700000000002</c:v>
                </c:pt>
                <c:pt idx="1977">
                  <c:v>0.74868699999999999</c:v>
                </c:pt>
                <c:pt idx="1978">
                  <c:v>0.71594599999999997</c:v>
                </c:pt>
                <c:pt idx="1979">
                  <c:v>1.0625020000000001</c:v>
                </c:pt>
                <c:pt idx="1980">
                  <c:v>0.80151899999999998</c:v>
                </c:pt>
                <c:pt idx="1981">
                  <c:v>0.78338200000000002</c:v>
                </c:pt>
                <c:pt idx="1982">
                  <c:v>0.71867199999999998</c:v>
                </c:pt>
                <c:pt idx="1983">
                  <c:v>0.784578</c:v>
                </c:pt>
                <c:pt idx="1984">
                  <c:v>0.96580500000000002</c:v>
                </c:pt>
                <c:pt idx="1985">
                  <c:v>0</c:v>
                </c:pt>
                <c:pt idx="1986">
                  <c:v>0.74323499999999998</c:v>
                </c:pt>
                <c:pt idx="1987">
                  <c:v>0.72615600000000002</c:v>
                </c:pt>
                <c:pt idx="1988">
                  <c:v>0.72999700000000001</c:v>
                </c:pt>
                <c:pt idx="1989">
                  <c:v>0.69938999999999996</c:v>
                </c:pt>
                <c:pt idx="1990">
                  <c:v>0.74130700000000005</c:v>
                </c:pt>
                <c:pt idx="1991">
                  <c:v>0.78567100000000001</c:v>
                </c:pt>
                <c:pt idx="1992">
                  <c:v>0.849518</c:v>
                </c:pt>
                <c:pt idx="1993">
                  <c:v>0.73875599999999997</c:v>
                </c:pt>
                <c:pt idx="1994">
                  <c:v>0.63005900000000004</c:v>
                </c:pt>
                <c:pt idx="1995">
                  <c:v>0.70895200000000003</c:v>
                </c:pt>
                <c:pt idx="1996">
                  <c:v>0.82507699999999995</c:v>
                </c:pt>
                <c:pt idx="1997">
                  <c:v>0.74839</c:v>
                </c:pt>
                <c:pt idx="1998">
                  <c:v>0.75105100000000002</c:v>
                </c:pt>
                <c:pt idx="1999">
                  <c:v>0.69061799999999995</c:v>
                </c:pt>
                <c:pt idx="2000">
                  <c:v>0.76427</c:v>
                </c:pt>
                <c:pt idx="2001">
                  <c:v>0.96250599999999997</c:v>
                </c:pt>
                <c:pt idx="2002">
                  <c:v>1.228963</c:v>
                </c:pt>
                <c:pt idx="2003">
                  <c:v>1.08721</c:v>
                </c:pt>
                <c:pt idx="2004">
                  <c:v>0.94733900000000004</c:v>
                </c:pt>
                <c:pt idx="2005">
                  <c:v>1.0849420000000001</c:v>
                </c:pt>
                <c:pt idx="2006">
                  <c:v>0</c:v>
                </c:pt>
                <c:pt idx="2007">
                  <c:v>1.1757169999999999</c:v>
                </c:pt>
                <c:pt idx="2008">
                  <c:v>1.6313690000000001</c:v>
                </c:pt>
                <c:pt idx="2009">
                  <c:v>2.0147010000000001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.98569300000000004</c:v>
                </c:pt>
                <c:pt idx="2015">
                  <c:v>0.79877100000000001</c:v>
                </c:pt>
                <c:pt idx="2016">
                  <c:v>0.86736400000000002</c:v>
                </c:pt>
                <c:pt idx="2017">
                  <c:v>0.72646200000000005</c:v>
                </c:pt>
                <c:pt idx="2018">
                  <c:v>0.93928900000000004</c:v>
                </c:pt>
                <c:pt idx="2019">
                  <c:v>0</c:v>
                </c:pt>
                <c:pt idx="2020">
                  <c:v>0.62331499999999995</c:v>
                </c:pt>
                <c:pt idx="2021">
                  <c:v>0.63442299999999996</c:v>
                </c:pt>
                <c:pt idx="2022">
                  <c:v>0.74826199999999998</c:v>
                </c:pt>
                <c:pt idx="2023">
                  <c:v>0.94833199999999995</c:v>
                </c:pt>
                <c:pt idx="2024">
                  <c:v>0.92330800000000002</c:v>
                </c:pt>
                <c:pt idx="2025">
                  <c:v>0.83962700000000001</c:v>
                </c:pt>
                <c:pt idx="2026">
                  <c:v>0.73218499999999997</c:v>
                </c:pt>
                <c:pt idx="2027">
                  <c:v>0.86771200000000004</c:v>
                </c:pt>
                <c:pt idx="2028">
                  <c:v>0.69323999999999997</c:v>
                </c:pt>
                <c:pt idx="2029">
                  <c:v>0.74065700000000001</c:v>
                </c:pt>
                <c:pt idx="2030">
                  <c:v>0.55932199999999999</c:v>
                </c:pt>
                <c:pt idx="2031">
                  <c:v>0.58341900000000002</c:v>
                </c:pt>
                <c:pt idx="2032">
                  <c:v>0.77731799999999995</c:v>
                </c:pt>
                <c:pt idx="2033">
                  <c:v>0.582395</c:v>
                </c:pt>
                <c:pt idx="2034">
                  <c:v>0.53594600000000003</c:v>
                </c:pt>
                <c:pt idx="2035">
                  <c:v>0.61495100000000003</c:v>
                </c:pt>
                <c:pt idx="2036">
                  <c:v>0.538435</c:v>
                </c:pt>
                <c:pt idx="2037">
                  <c:v>0.480852</c:v>
                </c:pt>
                <c:pt idx="2038">
                  <c:v>0.64387499999999998</c:v>
                </c:pt>
                <c:pt idx="2039">
                  <c:v>0</c:v>
                </c:pt>
                <c:pt idx="2040">
                  <c:v>0.66313599999999995</c:v>
                </c:pt>
                <c:pt idx="2041">
                  <c:v>0.72699899999999995</c:v>
                </c:pt>
                <c:pt idx="2042">
                  <c:v>0.70971899999999999</c:v>
                </c:pt>
                <c:pt idx="2043">
                  <c:v>0.78116300000000005</c:v>
                </c:pt>
                <c:pt idx="2044">
                  <c:v>0</c:v>
                </c:pt>
                <c:pt idx="2045">
                  <c:v>0</c:v>
                </c:pt>
                <c:pt idx="2046">
                  <c:v>0.76958099999999996</c:v>
                </c:pt>
                <c:pt idx="2047">
                  <c:v>0.92381000000000002</c:v>
                </c:pt>
                <c:pt idx="2048">
                  <c:v>0.99788100000000002</c:v>
                </c:pt>
                <c:pt idx="2049">
                  <c:v>0.71971499999999999</c:v>
                </c:pt>
                <c:pt idx="2050">
                  <c:v>0.897289</c:v>
                </c:pt>
                <c:pt idx="2051">
                  <c:v>0.57538999999999996</c:v>
                </c:pt>
                <c:pt idx="2052">
                  <c:v>0.67957599999999996</c:v>
                </c:pt>
                <c:pt idx="2053">
                  <c:v>0.76780099999999996</c:v>
                </c:pt>
                <c:pt idx="2054">
                  <c:v>0.68505700000000003</c:v>
                </c:pt>
                <c:pt idx="2055">
                  <c:v>0.66894100000000001</c:v>
                </c:pt>
                <c:pt idx="2056">
                  <c:v>0.82665100000000002</c:v>
                </c:pt>
                <c:pt idx="2057">
                  <c:v>0.80794900000000003</c:v>
                </c:pt>
                <c:pt idx="2058">
                  <c:v>0.74506600000000001</c:v>
                </c:pt>
                <c:pt idx="2059">
                  <c:v>0.80078300000000002</c:v>
                </c:pt>
                <c:pt idx="2060">
                  <c:v>0.81812799999999997</c:v>
                </c:pt>
                <c:pt idx="2061">
                  <c:v>0.66148799999999996</c:v>
                </c:pt>
                <c:pt idx="2062">
                  <c:v>0.80376700000000001</c:v>
                </c:pt>
                <c:pt idx="2063">
                  <c:v>0.63294700000000004</c:v>
                </c:pt>
                <c:pt idx="2064">
                  <c:v>0.94314500000000001</c:v>
                </c:pt>
                <c:pt idx="2065">
                  <c:v>1.1614800000000001</c:v>
                </c:pt>
                <c:pt idx="2066">
                  <c:v>0.88442799999999999</c:v>
                </c:pt>
                <c:pt idx="2067">
                  <c:v>0.56459599999999999</c:v>
                </c:pt>
                <c:pt idx="2068">
                  <c:v>0.61391200000000001</c:v>
                </c:pt>
                <c:pt idx="2069">
                  <c:v>0.839341</c:v>
                </c:pt>
                <c:pt idx="2070">
                  <c:v>1.444896</c:v>
                </c:pt>
                <c:pt idx="2071">
                  <c:v>0.73370299999999999</c:v>
                </c:pt>
                <c:pt idx="2072">
                  <c:v>0.381884</c:v>
                </c:pt>
                <c:pt idx="2073">
                  <c:v>0.438523</c:v>
                </c:pt>
                <c:pt idx="2074">
                  <c:v>0.78946799999999995</c:v>
                </c:pt>
                <c:pt idx="2075">
                  <c:v>0.97624200000000005</c:v>
                </c:pt>
                <c:pt idx="2076">
                  <c:v>0.81348699999999996</c:v>
                </c:pt>
                <c:pt idx="2077">
                  <c:v>0.66641099999999998</c:v>
                </c:pt>
                <c:pt idx="2078">
                  <c:v>0.70809999999999995</c:v>
                </c:pt>
                <c:pt idx="2079">
                  <c:v>0.66963099999999998</c:v>
                </c:pt>
                <c:pt idx="2080">
                  <c:v>0.65656499999999995</c:v>
                </c:pt>
                <c:pt idx="2081">
                  <c:v>1.4572620000000001</c:v>
                </c:pt>
                <c:pt idx="2082">
                  <c:v>0.93458799999999997</c:v>
                </c:pt>
                <c:pt idx="2083">
                  <c:v>0.68351899999999999</c:v>
                </c:pt>
                <c:pt idx="2084">
                  <c:v>0.69642300000000001</c:v>
                </c:pt>
                <c:pt idx="2085">
                  <c:v>0.75056900000000004</c:v>
                </c:pt>
                <c:pt idx="2086">
                  <c:v>1.0006109999999999</c:v>
                </c:pt>
                <c:pt idx="2087">
                  <c:v>0.95847599999999999</c:v>
                </c:pt>
                <c:pt idx="2088">
                  <c:v>0.59595600000000004</c:v>
                </c:pt>
                <c:pt idx="2089">
                  <c:v>0.68884400000000001</c:v>
                </c:pt>
                <c:pt idx="2090">
                  <c:v>0.72972899999999996</c:v>
                </c:pt>
                <c:pt idx="2091">
                  <c:v>0.98948499999999995</c:v>
                </c:pt>
                <c:pt idx="2092">
                  <c:v>0.88086900000000001</c:v>
                </c:pt>
                <c:pt idx="2093">
                  <c:v>0.50181500000000001</c:v>
                </c:pt>
                <c:pt idx="2094">
                  <c:v>0.390262</c:v>
                </c:pt>
                <c:pt idx="2095">
                  <c:v>0.49861899999999998</c:v>
                </c:pt>
                <c:pt idx="2096">
                  <c:v>0.54843299999999995</c:v>
                </c:pt>
                <c:pt idx="2097">
                  <c:v>0</c:v>
                </c:pt>
                <c:pt idx="2098">
                  <c:v>0.53245500000000001</c:v>
                </c:pt>
                <c:pt idx="2099">
                  <c:v>0.72139399999999998</c:v>
                </c:pt>
                <c:pt idx="2100">
                  <c:v>0.622865</c:v>
                </c:pt>
                <c:pt idx="2101">
                  <c:v>0.53047999999999995</c:v>
                </c:pt>
                <c:pt idx="2102">
                  <c:v>0.43696699999999999</c:v>
                </c:pt>
                <c:pt idx="2103">
                  <c:v>0.59356399999999998</c:v>
                </c:pt>
                <c:pt idx="2104">
                  <c:v>0.54749899999999996</c:v>
                </c:pt>
                <c:pt idx="2105">
                  <c:v>0.56528299999999998</c:v>
                </c:pt>
                <c:pt idx="2106">
                  <c:v>0.55990600000000001</c:v>
                </c:pt>
                <c:pt idx="2107">
                  <c:v>0.70885399999999998</c:v>
                </c:pt>
                <c:pt idx="2108">
                  <c:v>0.57615099999999997</c:v>
                </c:pt>
                <c:pt idx="2109">
                  <c:v>0.472528</c:v>
                </c:pt>
                <c:pt idx="2110">
                  <c:v>0.66619799999999996</c:v>
                </c:pt>
                <c:pt idx="2111">
                  <c:v>0.87804000000000004</c:v>
                </c:pt>
                <c:pt idx="2112">
                  <c:v>0</c:v>
                </c:pt>
                <c:pt idx="2113">
                  <c:v>0.47089399999999998</c:v>
                </c:pt>
                <c:pt idx="2114">
                  <c:v>0.71545300000000001</c:v>
                </c:pt>
                <c:pt idx="2115">
                  <c:v>0.62428899999999998</c:v>
                </c:pt>
                <c:pt idx="2116">
                  <c:v>0.64166400000000001</c:v>
                </c:pt>
                <c:pt idx="2117">
                  <c:v>0.55046300000000004</c:v>
                </c:pt>
                <c:pt idx="2118">
                  <c:v>0.64412499999999995</c:v>
                </c:pt>
                <c:pt idx="2119">
                  <c:v>0.68446099999999999</c:v>
                </c:pt>
                <c:pt idx="2120">
                  <c:v>0.79719700000000004</c:v>
                </c:pt>
                <c:pt idx="2121">
                  <c:v>0.83124100000000001</c:v>
                </c:pt>
                <c:pt idx="2122">
                  <c:v>0</c:v>
                </c:pt>
                <c:pt idx="2123">
                  <c:v>0.80512799999999995</c:v>
                </c:pt>
                <c:pt idx="2124">
                  <c:v>0.57958100000000001</c:v>
                </c:pt>
                <c:pt idx="2125">
                  <c:v>0.72685900000000003</c:v>
                </c:pt>
                <c:pt idx="2126">
                  <c:v>0.74215699999999996</c:v>
                </c:pt>
                <c:pt idx="2127">
                  <c:v>0.69200799999999996</c:v>
                </c:pt>
                <c:pt idx="2128">
                  <c:v>0.52082200000000001</c:v>
                </c:pt>
                <c:pt idx="2129">
                  <c:v>0.636467</c:v>
                </c:pt>
                <c:pt idx="2130">
                  <c:v>0.62213700000000005</c:v>
                </c:pt>
                <c:pt idx="2131">
                  <c:v>0.66954400000000003</c:v>
                </c:pt>
                <c:pt idx="2132">
                  <c:v>0.70257800000000004</c:v>
                </c:pt>
                <c:pt idx="2133">
                  <c:v>0.710175</c:v>
                </c:pt>
                <c:pt idx="2134">
                  <c:v>0.78342299999999998</c:v>
                </c:pt>
                <c:pt idx="2135">
                  <c:v>0.52065799999999995</c:v>
                </c:pt>
                <c:pt idx="2136">
                  <c:v>0.73504400000000003</c:v>
                </c:pt>
                <c:pt idx="2137">
                  <c:v>0</c:v>
                </c:pt>
                <c:pt idx="2138">
                  <c:v>0.52444400000000002</c:v>
                </c:pt>
                <c:pt idx="2139">
                  <c:v>0.831758</c:v>
                </c:pt>
                <c:pt idx="2140">
                  <c:v>0.80287600000000003</c:v>
                </c:pt>
                <c:pt idx="2141">
                  <c:v>0.70344799999999996</c:v>
                </c:pt>
                <c:pt idx="2142">
                  <c:v>0.57447700000000002</c:v>
                </c:pt>
                <c:pt idx="2143">
                  <c:v>0.64734100000000006</c:v>
                </c:pt>
                <c:pt idx="2144">
                  <c:v>0.57884899999999995</c:v>
                </c:pt>
                <c:pt idx="2145">
                  <c:v>0.56032300000000002</c:v>
                </c:pt>
                <c:pt idx="2146">
                  <c:v>0.50997199999999998</c:v>
                </c:pt>
                <c:pt idx="2147">
                  <c:v>0.64536400000000005</c:v>
                </c:pt>
                <c:pt idx="2148">
                  <c:v>0.72109299999999998</c:v>
                </c:pt>
                <c:pt idx="2149">
                  <c:v>0.556012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45-46A0-9BFE-695E5EB463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9556416"/>
        <c:axId val="719554752"/>
      </c:lineChart>
      <c:dateAx>
        <c:axId val="719556416"/>
        <c:scaling>
          <c:orientation val="minMax"/>
        </c:scaling>
        <c:delete val="0"/>
        <c:axPos val="b"/>
        <c:numFmt formatCode="yyyy\-mm\-dd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19554752"/>
        <c:crosses val="autoZero"/>
        <c:auto val="0"/>
        <c:lblOffset val="100"/>
        <c:baseTimeUnit val="days"/>
        <c:majorUnit val="1"/>
        <c:majorTimeUnit val="years"/>
      </c:dateAx>
      <c:valAx>
        <c:axId val="719554752"/>
        <c:scaling>
          <c:orientation val="minMax"/>
          <c:max val="1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19556416"/>
        <c:crosses val="autoZero"/>
        <c:crossBetween val="between"/>
        <c:majorUnit val="3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853873256799948"/>
          <c:y val="0.9159186342160498"/>
          <c:w val="0.60292253486400105"/>
          <c:h val="4.07003729680355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020FB-9FDA-488D-AEB5-B99F6D43D5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B7509A-4ABD-48C5-85DD-F3F8A7680A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E143D-F81F-47DB-830C-2C81DE59F9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C4FA1-6E0A-400B-B747-7AB2D90FC2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BCAAD6-EC79-4645-9B92-48146AE77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699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1A704-3ACF-47E4-B4AA-EF9C8B093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6F5020-6170-4E48-A210-5B0CD623F3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884799-D73D-467C-B4A4-81B8BDB9F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B70A5D-2E6D-4FCF-B1BC-17964C268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443759-4528-48B4-ADEE-C92957A2A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72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62C8108-EFE5-4EAA-85BE-F5B9D398437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AC9C91-743D-4BE8-A05C-A9CD30ADEF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C9186B-D1FD-4FAF-9CA4-480BA3D52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DB56B0-F67C-44D8-971D-CE73DFB63A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AC81DD-5508-4655-8AF5-01B3AFBE0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374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29575D-9381-4703-892B-0E75B3C09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F12DA-B170-44C8-9A7E-7ACC8945AF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682692-0DF9-4FB8-A0C1-66F636C44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37BB31-5720-4EBB-9329-F77CE651E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72F5DE-CABF-441C-9E35-811472BA6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718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3F2AC-A0F5-4C7E-B82A-CE7E22EC6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5CB24-8ADB-4CC9-8908-6399425D6C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63E5A-143B-458D-ABDA-9D40BDEB0D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D79EB3-CC3A-4FC8-874A-299E3EBA0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A33569-3B92-4DC4-933C-A23F57EFF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515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6E750F-0EE3-4F02-91A0-A064FFD6A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E8726D-ACB2-4653-BFBB-1548ACF476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8E4460-4FDC-4534-B9DE-F98875E2D8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0F770C-60D5-415A-9EB0-A5DAAD550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65BC6-ADB7-4D86-BA6E-FE516C6D2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8CFA91-FBBA-4D07-B358-912FDA888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6466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163BF-E637-4E1E-8952-8C489F94B0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356858-FED2-447C-996D-649424D3A7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0C9EB4-4F55-4321-AC58-A63C426172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3FED0C-D552-4AB3-A4F3-7F68091BFD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ED66D12-C872-4EB6-BADF-E1E59E7969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F2AC83-517A-40D3-AE5A-C55D77301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A5DBF6-E2FE-4D63-BF6C-829CDFFD0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4BF769-C84F-4FDB-BFEB-D1F65AE541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9523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608C0-7A76-48F7-8210-47A154CDA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CFBB14-E140-4E39-8D30-1C8069653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9FED59-FAB0-449F-A265-17261D0BF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961E37-DDA8-4864-82E0-027364750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4734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B31044-6BA4-478D-95D4-B3A36FCB5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C02933-0467-4827-823B-37BE6E693F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5CF998-1D8E-45FE-930A-C7FCEF092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509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B78C7-9853-4018-92DE-B0B9989E2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CD83E8-D8EA-4158-90EF-F48EB0BE3F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DED21C-039E-4CFE-B1BD-8D7AF8EF89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CF8EA4-169A-40AC-8975-D5A6696203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C8F588-A78D-4E92-AA63-95B550C0F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83377E-48EA-4805-9328-CA7172806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4306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69A20A-2457-43A8-A71E-294AEED82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52C4B6-7EB7-4753-90FC-2AFE35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B48237-291F-486F-A6E4-6F90AF8386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CFDCA0-049D-4ED5-A19C-E74D1418D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A2DCB-626C-425C-8866-F937C351EA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7E1B96-53A9-4ACB-97AA-E02F60FCA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051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EBC4B0B-8BBB-4EF9-BEB1-9238C1C06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35397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5" imgW="306" imgH="306" progId="TCLayout.ActiveDocument.1">
                  <p:embed/>
                </p:oleObj>
              </mc:Choice>
              <mc:Fallback>
                <p:oleObj name="think-cell Slide" r:id="rId1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06143B-8B16-436B-A8C6-B2666BC95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EDE864-9B33-45B8-B33C-821AA89414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90D77E-F7DE-47A8-8E26-D46D1BC01A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D56E7B-426E-46DE-B413-1EC40F2B347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831426-3491-432A-9421-384D265962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943CFF-7FC6-4ADD-8928-BDF266FA74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29D42B-2BDC-4B29-8E0F-C8CFAE604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238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10DB8F-D64E-48C4-9E5B-56A2BAF76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936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63A497-1098-4DF2-968C-9C85DBED6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789" y="149163"/>
            <a:ext cx="10453816" cy="864092"/>
          </a:xfrm>
        </p:spPr>
        <p:txBody>
          <a:bodyPr vert="horz" anchor="ctr">
            <a:normAutofit/>
          </a:bodyPr>
          <a:lstStyle/>
          <a:p>
            <a:pPr algn="l"/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Основные задачи и название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D410C-9EB1-4295-BE46-347E96C02A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0789" y="1062681"/>
            <a:ext cx="6030097" cy="5132172"/>
          </a:xfrm>
        </p:spPr>
        <p:txBody>
          <a:bodyPr>
            <a:normAutofit fontScale="92500" lnSpcReduction="10000"/>
          </a:bodyPr>
          <a:lstStyle/>
          <a:p>
            <a:pPr marL="342900" indent="-342900" algn="l">
              <a:buAutoNum type="arabicPeriod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Формулировка темы: «Прогнозирование краткосрочного обменного курса рубля на основе агрегатов платежного баланса»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(Short-term forecasting of ruble exchange rate using balance of payments aggregates)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. Почему «равновесного»?</a:t>
            </a:r>
          </a:p>
          <a:p>
            <a:pPr marL="342900" indent="-342900" algn="l">
              <a:buAutoNum type="arabicPeriod"/>
            </a:pP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Основная задача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: краткосрочная модель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VECM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биржевого курса рубля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USDRUB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на дневных / средних за неделю данных.</a:t>
            </a:r>
          </a:p>
          <a:p>
            <a:pPr marL="800100" lvl="1" indent="-342900" algn="l">
              <a:buAutoNum type="arabicPeriod"/>
            </a:pP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Короткая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модель с тремя (?) регрессорами:</a:t>
            </a:r>
          </a:p>
          <a:p>
            <a:pPr marL="1257300" lvl="2" indent="-342900" algn="l">
              <a:buFont typeface="Wingdings" panose="05000000000000000000" pitchFamily="2" charset="2"/>
              <a:buChar char="§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Цена нефти (отдельный вопрос,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Brent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или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Urals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? Наверно,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Brent)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7300" lvl="2" indent="-342900" algn="l">
              <a:buFont typeface="Wingdings" panose="05000000000000000000" pitchFamily="2" charset="2"/>
              <a:buChar char="§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Дифференциал процентных ставок по гособлигациям (ОФЗ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vs Treasuries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или ОФЗ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vs Bunds?)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7300" lvl="2" indent="-342900" algn="l">
              <a:buFont typeface="Wingdings" panose="05000000000000000000" pitchFamily="2" charset="2"/>
              <a:buChar char="§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Курс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EURUSD</a:t>
            </a:r>
          </a:p>
          <a:p>
            <a:pPr marL="800100" lvl="1" indent="-342900" algn="l">
              <a:buAutoNum type="arabicPeriod"/>
            </a:pP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Полная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модель с включением дополнительных регрессоров: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Цены на газ, металлы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Динамика валют развивающихся стран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Фондовые индексы России, США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оказатель достаточности валютных резервов ЦБ РФ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Индикатор уровня санкционных рисков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Возможно, стоит попробовать учесть ковид, разные режимы при разных уровнях цены нефти. Построить разные модели для разных периодов?</a:t>
            </a:r>
          </a:p>
          <a:p>
            <a:pPr marL="342900" indent="-342900" algn="l">
              <a:buAutoNum type="arabicPeriod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ая задача (?): построение среднесрочной модели на месячных / квартальных данных на основе прогноза платежного баланса –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важно </a:t>
            </a:r>
          </a:p>
          <a:p>
            <a:pPr marL="342900" indent="-342900" algn="l">
              <a:buAutoNum type="arabicPeriod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Бюджетное правило (надо проверить и включить), аналогично налоговый период – тоже просчитать и проговорить</a:t>
            </a:r>
          </a:p>
          <a:p>
            <a:pPr marL="342900" indent="-342900" algn="l">
              <a:buAutoNum type="arabicPeriod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2D9C205B-166D-4AC3-B49D-C7C8BC3D0E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7453891"/>
              </p:ext>
            </p:extLst>
          </p:nvPr>
        </p:nvGraphicFramePr>
        <p:xfrm>
          <a:off x="6878595" y="1062681"/>
          <a:ext cx="4765589" cy="4996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153502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9</TotalTime>
  <Words>189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Wingdings</vt:lpstr>
      <vt:lpstr>Office Theme</vt:lpstr>
      <vt:lpstr>think-cell Slide</vt:lpstr>
      <vt:lpstr>Основные задачи и названи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ные задачи и название</dc:title>
  <dc:creator>Лозовой Владимир Алексеевич</dc:creator>
  <cp:lastModifiedBy>Лозовой Владимир Алексеевич</cp:lastModifiedBy>
  <cp:revision>6</cp:revision>
  <dcterms:created xsi:type="dcterms:W3CDTF">2021-11-11T10:21:30Z</dcterms:created>
  <dcterms:modified xsi:type="dcterms:W3CDTF">2021-11-11T13:18:55Z</dcterms:modified>
</cp:coreProperties>
</file>